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7" r:id="rId5"/>
    <p:sldMasterId id="2147483682" r:id="rId6"/>
  </p:sldMasterIdLst>
  <p:notesMasterIdLst>
    <p:notesMasterId r:id="rId16"/>
  </p:notesMasterIdLst>
  <p:handoutMasterIdLst>
    <p:handoutMasterId r:id="rId17"/>
  </p:handoutMasterIdLst>
  <p:sldIdLst>
    <p:sldId id="2147471618" r:id="rId7"/>
    <p:sldId id="2147479559" r:id="rId8"/>
    <p:sldId id="2147479561" r:id="rId9"/>
    <p:sldId id="336" r:id="rId10"/>
    <p:sldId id="2147471613" r:id="rId11"/>
    <p:sldId id="2147309068" r:id="rId12"/>
    <p:sldId id="2147376140" r:id="rId13"/>
    <p:sldId id="2147479461" r:id="rId14"/>
    <p:sldId id="2147471609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AB4F602-ECFE-76DE-BD40-2FEFAB44B509}" name="Myles, Ranell (CDC/NCHHSTP/OD)" initials="MR(" userId="S::fue0@cdc.gov::b3763def-a1fa-4de2-95fc-c232e804b58f" providerId="AD"/>
  <p188:author id="{58AC4977-0350-68AA-0B57-0D67138EABCC}" name="Turner, Victoria (CDC/NCCDPHP/OD)" initials="T(" userId="S::qnn4@cdc.gov::c930bf64-24cf-4dca-a97d-64630f57d5f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E9D4"/>
    <a:srgbClr val="2F78BC"/>
    <a:srgbClr val="256596"/>
    <a:srgbClr val="0F8577"/>
    <a:srgbClr val="F4605C"/>
    <a:srgbClr val="2C70BA"/>
    <a:srgbClr val="0F3858"/>
    <a:srgbClr val="5AAE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0052A64-FBB7-27D4-5BAC-532D26CE4E52}" v="3" dt="2024-10-24T14:35:11.99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44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phaële Ismaïli" userId="S::raphaele.ismaili@ianphi.org::22e4389f-b5be-4379-98af-0b2fad5d35e7" providerId="AD" clId="Web-{B0052A64-FBB7-27D4-5BAC-532D26CE4E52}"/>
    <pc:docChg chg="modSld">
      <pc:chgData name="Raphaële Ismaïli" userId="S::raphaele.ismaili@ianphi.org::22e4389f-b5be-4379-98af-0b2fad5d35e7" providerId="AD" clId="Web-{B0052A64-FBB7-27D4-5BAC-532D26CE4E52}" dt="2024-10-24T14:35:11.990" v="2" actId="14100"/>
      <pc:docMkLst>
        <pc:docMk/>
      </pc:docMkLst>
      <pc:sldChg chg="addSp delSp modSp">
        <pc:chgData name="Raphaële Ismaïli" userId="S::raphaele.ismaili@ianphi.org::22e4389f-b5be-4379-98af-0b2fad5d35e7" providerId="AD" clId="Web-{B0052A64-FBB7-27D4-5BAC-532D26CE4E52}" dt="2024-10-24T14:35:11.990" v="2" actId="14100"/>
        <pc:sldMkLst>
          <pc:docMk/>
          <pc:sldMk cId="1234444318" sldId="2147471609"/>
        </pc:sldMkLst>
        <pc:picChg chg="del">
          <ac:chgData name="Raphaële Ismaïli" userId="S::raphaele.ismaili@ianphi.org::22e4389f-b5be-4379-98af-0b2fad5d35e7" providerId="AD" clId="Web-{B0052A64-FBB7-27D4-5BAC-532D26CE4E52}" dt="2024-10-24T14:35:06.756" v="0"/>
          <ac:picMkLst>
            <pc:docMk/>
            <pc:sldMk cId="1234444318" sldId="2147471609"/>
            <ac:picMk id="5" creationId="{3D91DAC5-A759-8A25-C1F1-EA9C3076F22A}"/>
          </ac:picMkLst>
        </pc:picChg>
        <pc:picChg chg="add mod">
          <ac:chgData name="Raphaële Ismaïli" userId="S::raphaele.ismaili@ianphi.org::22e4389f-b5be-4379-98af-0b2fad5d35e7" providerId="AD" clId="Web-{B0052A64-FBB7-27D4-5BAC-532D26CE4E52}" dt="2024-10-24T14:35:11.990" v="2" actId="14100"/>
          <ac:picMkLst>
            <pc:docMk/>
            <pc:sldMk cId="1234444318" sldId="2147471609"/>
            <ac:picMk id="7" creationId="{143DFA1E-947F-6833-6834-E8FFBEE7BB59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6905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B08BF4-ACE6-9943-AFBC-0E03144A4B56}" type="datetimeFigureOut">
              <a:t>24/1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EC859A-5609-E44D-A2E5-50FAA3A6E458}" type="slidenum">
              <a:t>‹N°›</a:t>
            </a:fld>
            <a:endParaRPr lang="en-US"/>
          </a:p>
        </p:txBody>
      </p:sp>
      <p:sp>
        <p:nvSpPr>
          <p:cNvPr id="8" name="Espace réservé de l'en-tête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97832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EC859A-5609-E44D-A2E5-50FAA3A6E45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1164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</a:endParaRPr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4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9334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9334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9334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9334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33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ADA5F2-7D7C-46F2-8412-68A99987502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334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89693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8B453B-070D-4E49-AF1F-950E716E1AF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5720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Courier New" panose="02070309020205020404" pitchFamily="49" charset="0"/>
              <a:buChar char="o"/>
            </a:pPr>
            <a:endParaRPr lang="en-US" sz="1200" b="1" i="1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lang="en-US" sz="12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8B453B-070D-4E49-AF1F-950E716E1AF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4202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38E453-5BE1-D675-EBF7-E2E0C9345F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A61EE72-7D25-6608-8365-20ED93A336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B914CBC-E2EF-1686-ECB8-22896C5EFBF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38083B-FCA9-8C02-7BF6-A4BA7C1ED2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EC859A-5609-E44D-A2E5-50FAA3A6E45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79107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pn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 / Fir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3410CAE-DC91-1D4C-9A9F-3710D17A06F9}"/>
              </a:ext>
            </a:extLst>
          </p:cNvPr>
          <p:cNvSpPr/>
          <p:nvPr userDrawn="1"/>
        </p:nvSpPr>
        <p:spPr>
          <a:xfrm>
            <a:off x="4114800" y="1"/>
            <a:ext cx="8077200" cy="6858000"/>
          </a:xfrm>
          <a:prstGeom prst="rect">
            <a:avLst/>
          </a:prstGeom>
          <a:solidFill>
            <a:srgbClr val="2C70B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DBB9B88-E00B-774A-8344-BC68E8E99185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5109935" y="1616983"/>
            <a:ext cx="6243865" cy="4472667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Insert 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79637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|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E67E3BF6-3CC8-0047-BBA2-FF8805D17D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888" y="-29962"/>
            <a:ext cx="12175112" cy="6887963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182B34E-3313-2C43-86BF-3691D3D4D5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4" y="1983706"/>
            <a:ext cx="11029615" cy="3678303"/>
          </a:xfrm>
        </p:spPr>
        <p:txBody>
          <a:bodyPr/>
          <a:lstStyle>
            <a:lvl1pPr>
              <a:buClr>
                <a:schemeClr val="accent2"/>
              </a:buClr>
              <a:defRPr/>
            </a:lvl1pPr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866B10-3FCA-4840-AD3C-F18AA51F3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0E3CB86-093F-1946-BD31-11D22BD0D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7E033C3-FCDC-8747-BE08-BEF45DA6F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9EA51E6-B005-8848-A06B-8944C8E9D5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9369" y="6554869"/>
            <a:ext cx="902633" cy="70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9329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defTabSz="914377">
              <a:defRPr/>
            </a:pPr>
            <a:fld id="{D57F1E4F-1CFF-5643-939E-217C01CDF565}" type="slidenum">
              <a:rPr lang="en-US" sz="900" smtClean="0">
                <a:solidFill>
                  <a:srgbClr val="2F78BC"/>
                </a:solidFill>
                <a:latin typeface="Arial"/>
              </a:rPr>
              <a:pPr algn="r" defTabSz="914377">
                <a:defRPr/>
              </a:pPr>
              <a:t>‹N°›</a:t>
            </a:fld>
            <a:endParaRPr lang="en-US" sz="900">
              <a:solidFill>
                <a:srgbClr val="2F78BC"/>
              </a:solidFill>
              <a:latin typeface="Arial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 defTabSz="914377">
              <a:defRPr/>
            </a:pPr>
            <a:endParaRPr lang="en-US" sz="900">
              <a:solidFill>
                <a:srgbClr val="2F78BC"/>
              </a:solidFill>
              <a:latin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endParaRPr lang="en-US" sz="900" cap="all">
              <a:solidFill>
                <a:srgbClr val="2F78B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21094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09600" y="1835572"/>
            <a:ext cx="10972800" cy="4176467"/>
          </a:xfrm>
        </p:spPr>
        <p:txBody>
          <a:bodyPr/>
          <a:lstStyle>
            <a:lvl1pPr marL="304792" indent="-304792">
              <a:lnSpc>
                <a:spcPts val="2933"/>
              </a:lnSpc>
              <a:buClr>
                <a:srgbClr val="003BC0"/>
              </a:buClr>
              <a:buFont typeface="Arial" panose="020B0604020202020204" pitchFamily="34" charset="0"/>
              <a:buChar char="•"/>
              <a:defRPr sz="2667" b="1">
                <a:solidFill>
                  <a:srgbClr val="1D1D1D"/>
                </a:solidFill>
              </a:defRPr>
            </a:lvl1pPr>
            <a:lvl2pPr marL="609585" indent="-226478">
              <a:lnSpc>
                <a:spcPts val="2667"/>
              </a:lnSpc>
              <a:buClr>
                <a:srgbClr val="005761"/>
              </a:buClr>
              <a:buFont typeface="Arial" panose="020B0604020202020204" pitchFamily="34" charset="0"/>
              <a:buChar char="-"/>
              <a:tabLst>
                <a:tab pos="533387" algn="l"/>
              </a:tabLst>
              <a:defRPr sz="2400">
                <a:solidFill>
                  <a:srgbClr val="1D1D1D"/>
                </a:solidFill>
              </a:defRPr>
            </a:lvl2pPr>
            <a:lvl3pPr>
              <a:lnSpc>
                <a:spcPts val="2667"/>
              </a:lnSpc>
              <a:buClr>
                <a:srgbClr val="5A5A5A"/>
              </a:buClr>
              <a:defRPr sz="2667">
                <a:solidFill>
                  <a:srgbClr val="1D1D1D"/>
                </a:solidFill>
              </a:defRPr>
            </a:lvl3pPr>
            <a:lvl4pPr>
              <a:defRPr sz="2667">
                <a:solidFill>
                  <a:srgbClr val="1D1D1D"/>
                </a:solidFill>
              </a:defRPr>
            </a:lvl4pPr>
            <a:lvl5pPr>
              <a:defRPr sz="2667">
                <a:solidFill>
                  <a:srgbClr val="1D1D1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E7F2F02-184C-4505-8466-02885693FE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1E5AAA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5710D62-FA23-37E1-D9CA-4E6562C12821}"/>
              </a:ext>
            </a:extLst>
          </p:cNvPr>
          <p:cNvGrpSpPr/>
          <p:nvPr userDrawn="1"/>
        </p:nvGrpSpPr>
        <p:grpSpPr>
          <a:xfrm>
            <a:off x="1" y="6725265"/>
            <a:ext cx="12192001" cy="142567"/>
            <a:chOff x="7355954" y="15880786"/>
            <a:chExt cx="21904846" cy="578414"/>
          </a:xfrm>
        </p:grpSpPr>
        <p:sp>
          <p:nvSpPr>
            <p:cNvPr id="3" name="Rectangle 20">
              <a:extLst>
                <a:ext uri="{FF2B5EF4-FFF2-40B4-BE49-F238E27FC236}">
                  <a16:creationId xmlns:a16="http://schemas.microsoft.com/office/drawing/2014/main" id="{3AD231D8-DCA4-570B-4CC6-32EBF38FADD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flipV="1">
              <a:off x="21984029" y="15880786"/>
              <a:ext cx="2432923" cy="578414"/>
            </a:xfrm>
            <a:prstGeom prst="rect">
              <a:avLst/>
            </a:prstGeom>
            <a:solidFill>
              <a:srgbClr val="194D93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3333"/>
            </a:p>
          </p:txBody>
        </p:sp>
        <p:sp>
          <p:nvSpPr>
            <p:cNvPr id="4" name="Rectangle 20">
              <a:extLst>
                <a:ext uri="{FF2B5EF4-FFF2-40B4-BE49-F238E27FC236}">
                  <a16:creationId xmlns:a16="http://schemas.microsoft.com/office/drawing/2014/main" id="{32619D13-D1C6-7836-5897-39ABF07B01E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flipV="1">
              <a:off x="24406350" y="15880786"/>
              <a:ext cx="2432923" cy="578414"/>
            </a:xfrm>
            <a:prstGeom prst="rect">
              <a:avLst/>
            </a:prstGeom>
            <a:solidFill>
              <a:srgbClr val="1C56A4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3333"/>
            </a:p>
          </p:txBody>
        </p:sp>
        <p:sp>
          <p:nvSpPr>
            <p:cNvPr id="6" name="Rectangle 20">
              <a:extLst>
                <a:ext uri="{FF2B5EF4-FFF2-40B4-BE49-F238E27FC236}">
                  <a16:creationId xmlns:a16="http://schemas.microsoft.com/office/drawing/2014/main" id="{392F6D8E-420B-97AC-FD5D-3185F97EC0C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flipV="1">
              <a:off x="26827877" y="15880786"/>
              <a:ext cx="2432923" cy="578414"/>
            </a:xfrm>
            <a:prstGeom prst="rect">
              <a:avLst/>
            </a:prstGeom>
            <a:solidFill>
              <a:srgbClr val="1E5DB2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3333"/>
            </a:p>
          </p:txBody>
        </p:sp>
        <p:sp>
          <p:nvSpPr>
            <p:cNvPr id="8" name="Rectangle 20">
              <a:extLst>
                <a:ext uri="{FF2B5EF4-FFF2-40B4-BE49-F238E27FC236}">
                  <a16:creationId xmlns:a16="http://schemas.microsoft.com/office/drawing/2014/main" id="{6967D159-E4ED-FA77-F3CA-47CC8A1001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 flipV="1">
              <a:off x="7355954" y="15880786"/>
              <a:ext cx="14644447" cy="578414"/>
            </a:xfrm>
            <a:prstGeom prst="rect">
              <a:avLst/>
            </a:prstGeom>
            <a:solidFill>
              <a:srgbClr val="164380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3333"/>
            </a:p>
          </p:txBody>
        </p:sp>
      </p:grpSp>
    </p:spTree>
    <p:extLst>
      <p:ext uri="{BB962C8B-B14F-4D97-AF65-F5344CB8AC3E}">
        <p14:creationId xmlns:p14="http://schemas.microsoft.com/office/powerpoint/2010/main" val="8691703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_CDC_alt_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04309823-E745-9AE6-697D-FA12A65467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0" y="0"/>
            <a:ext cx="12192000" cy="228600"/>
            <a:chOff x="0" y="0"/>
            <a:chExt cx="9144000" cy="17145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1E8587A6-7C1A-EC72-C16A-98204569B39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0" y="0"/>
              <a:ext cx="9144000" cy="171350"/>
            </a:xfrm>
            <a:prstGeom prst="rect">
              <a:avLst/>
            </a:prstGeom>
            <a:solidFill>
              <a:srgbClr val="1E66B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749"/>
            </a:p>
          </p:txBody>
        </p:sp>
        <p:sp>
          <p:nvSpPr>
            <p:cNvPr id="44" name="Parallelogram 9">
              <a:extLst>
                <a:ext uri="{FF2B5EF4-FFF2-40B4-BE49-F238E27FC236}">
                  <a16:creationId xmlns:a16="http://schemas.microsoft.com/office/drawing/2014/main" id="{EA18C2A9-CD91-4656-D4FD-18B4B82E4B8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553" y="100"/>
              <a:ext cx="734284" cy="171350"/>
            </a:xfrm>
            <a:custGeom>
              <a:avLst/>
              <a:gdLst>
                <a:gd name="connsiteX0" fmla="*/ 0 w 2399861"/>
                <a:gd name="connsiteY0" fmla="*/ 668592 h 668592"/>
                <a:gd name="connsiteX1" fmla="*/ 167148 w 2399861"/>
                <a:gd name="connsiteY1" fmla="*/ 0 h 668592"/>
                <a:gd name="connsiteX2" fmla="*/ 2399861 w 2399861"/>
                <a:gd name="connsiteY2" fmla="*/ 0 h 668592"/>
                <a:gd name="connsiteX3" fmla="*/ 2232713 w 2399861"/>
                <a:gd name="connsiteY3" fmla="*/ 668592 h 668592"/>
                <a:gd name="connsiteX4" fmla="*/ 0 w 2399861"/>
                <a:gd name="connsiteY4" fmla="*/ 668592 h 668592"/>
                <a:gd name="connsiteX0" fmla="*/ 0 w 2261638"/>
                <a:gd name="connsiteY0" fmla="*/ 668592 h 668592"/>
                <a:gd name="connsiteX1" fmla="*/ 28925 w 2261638"/>
                <a:gd name="connsiteY1" fmla="*/ 0 h 668592"/>
                <a:gd name="connsiteX2" fmla="*/ 2261638 w 2261638"/>
                <a:gd name="connsiteY2" fmla="*/ 0 h 668592"/>
                <a:gd name="connsiteX3" fmla="*/ 2094490 w 2261638"/>
                <a:gd name="connsiteY3" fmla="*/ 668592 h 668592"/>
                <a:gd name="connsiteX4" fmla="*/ 0 w 2261638"/>
                <a:gd name="connsiteY4" fmla="*/ 668592 h 66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61638" h="668592">
                  <a:moveTo>
                    <a:pt x="0" y="668592"/>
                  </a:moveTo>
                  <a:lnTo>
                    <a:pt x="28925" y="0"/>
                  </a:lnTo>
                  <a:lnTo>
                    <a:pt x="2261638" y="0"/>
                  </a:lnTo>
                  <a:lnTo>
                    <a:pt x="2094490" y="668592"/>
                  </a:lnTo>
                  <a:lnTo>
                    <a:pt x="0" y="668592"/>
                  </a:lnTo>
                  <a:close/>
                </a:path>
              </a:pathLst>
            </a:custGeom>
            <a:solidFill>
              <a:srgbClr val="16438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749"/>
            </a:p>
          </p:txBody>
        </p:sp>
        <p:sp>
          <p:nvSpPr>
            <p:cNvPr id="45" name="Parallelogram 44">
              <a:extLst>
                <a:ext uri="{FF2B5EF4-FFF2-40B4-BE49-F238E27FC236}">
                  <a16:creationId xmlns:a16="http://schemas.microsoft.com/office/drawing/2014/main" id="{AE0A8C09-00C3-D95E-B5DA-0F0A402DC7AB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462891" y="100"/>
              <a:ext cx="1398588" cy="171350"/>
            </a:xfrm>
            <a:prstGeom prst="parallelogram">
              <a:avLst/>
            </a:prstGeom>
            <a:solidFill>
              <a:srgbClr val="194D9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749"/>
            </a:p>
          </p:txBody>
        </p:sp>
        <p:sp>
          <p:nvSpPr>
            <p:cNvPr id="46" name="Parallelogram 45">
              <a:extLst>
                <a:ext uri="{FF2B5EF4-FFF2-40B4-BE49-F238E27FC236}">
                  <a16:creationId xmlns:a16="http://schemas.microsoft.com/office/drawing/2014/main" id="{B944134F-25AD-BEB2-C0BF-43DF4B11FC3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1537538" y="100"/>
              <a:ext cx="1825143" cy="171350"/>
            </a:xfrm>
            <a:prstGeom prst="parallelogram">
              <a:avLst/>
            </a:prstGeom>
            <a:solidFill>
              <a:srgbClr val="1C56A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749"/>
            </a:p>
          </p:txBody>
        </p:sp>
        <p:sp>
          <p:nvSpPr>
            <p:cNvPr id="47" name="Parallelogram 46">
              <a:extLst>
                <a:ext uri="{FF2B5EF4-FFF2-40B4-BE49-F238E27FC236}">
                  <a16:creationId xmlns:a16="http://schemas.microsoft.com/office/drawing/2014/main" id="{A01506F6-4045-30A7-1967-7A227206789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2971812" y="100"/>
              <a:ext cx="2201282" cy="171350"/>
            </a:xfrm>
            <a:prstGeom prst="parallelogram">
              <a:avLst/>
            </a:prstGeom>
            <a:solidFill>
              <a:srgbClr val="1E5DB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749"/>
            </a:p>
          </p:txBody>
        </p:sp>
      </p:grpSp>
      <p:sp>
        <p:nvSpPr>
          <p:cNvPr id="7" name="Title 1"/>
          <p:cNvSpPr>
            <a:spLocks noGrp="1"/>
          </p:cNvSpPr>
          <p:nvPr userDrawn="1">
            <p:ph type="title"/>
          </p:nvPr>
        </p:nvSpPr>
        <p:spPr>
          <a:xfrm>
            <a:off x="609600" y="1184276"/>
            <a:ext cx="10972800" cy="1143000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4000"/>
              </a:lnSpc>
              <a:defRPr sz="3733" b="1" baseline="0">
                <a:solidFill>
                  <a:srgbClr val="0057B7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Subtitle 2"/>
          <p:cNvSpPr>
            <a:spLocks noGrp="1"/>
          </p:cNvSpPr>
          <p:nvPr userDrawn="1">
            <p:ph type="subTitle" idx="1"/>
          </p:nvPr>
        </p:nvSpPr>
        <p:spPr>
          <a:xfrm>
            <a:off x="609600" y="2859349"/>
            <a:ext cx="8534400" cy="4572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67" b="1" baseline="0">
                <a:solidFill>
                  <a:srgbClr val="0057B7"/>
                </a:solidFill>
                <a:effectLst/>
                <a:latin typeface="Calibri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/>
          </a:p>
        </p:txBody>
      </p:sp>
      <p:sp>
        <p:nvSpPr>
          <p:cNvPr id="10" name="Text Placeholder 8"/>
          <p:cNvSpPr>
            <a:spLocks noGrp="1"/>
          </p:cNvSpPr>
          <p:nvPr userDrawn="1">
            <p:ph type="body" sz="quarter" idx="10"/>
          </p:nvPr>
        </p:nvSpPr>
        <p:spPr>
          <a:xfrm>
            <a:off x="609600" y="3946019"/>
            <a:ext cx="8534400" cy="12954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667"/>
              </a:lnSpc>
              <a:buNone/>
              <a:defRPr sz="2400" baseline="0">
                <a:solidFill>
                  <a:srgbClr val="000000"/>
                </a:solidFill>
                <a:latin typeface="Calibri" pitchFamily="34" charset="0"/>
              </a:defRPr>
            </a:lvl1pPr>
            <a:lvl2pPr algn="ctr">
              <a:defRPr>
                <a:solidFill>
                  <a:schemeClr val="tx2"/>
                </a:solidFill>
              </a:defRPr>
            </a:lvl2pPr>
            <a:lvl3pPr algn="ctr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tx2"/>
                </a:solidFill>
              </a:defRPr>
            </a:lvl4pPr>
            <a:lvl5pPr algn="ctr">
              <a:defRPr>
                <a:solidFill>
                  <a:schemeClr val="tx2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A617DD9D-7533-7A57-89FB-4D057BCEAC55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09600" y="372533"/>
            <a:ext cx="9211733" cy="54186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lace center name her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73EE938-470B-9DA7-FFED-E3CE4A1A33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06" t="47892" r="12803" b="15738"/>
          <a:stretch/>
        </p:blipFill>
        <p:spPr>
          <a:xfrm>
            <a:off x="10872041" y="216207"/>
            <a:ext cx="1117600" cy="72591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89C2412-9C72-F68A-C89E-1B2C31ECA9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0" y="220133"/>
            <a:ext cx="12192000" cy="914400"/>
          </a:xfrm>
          <a:prstGeom prst="rect">
            <a:avLst/>
          </a:prstGeom>
          <a:solidFill>
            <a:srgbClr val="0057B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A8CF4BB-8534-F92D-F388-F00364BC9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727" t="-6498" r="-2168" b="-6487"/>
          <a:stretch/>
        </p:blipFill>
        <p:spPr>
          <a:xfrm>
            <a:off x="10892590" y="5999749"/>
            <a:ext cx="1066799" cy="72189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6A2EE6-3458-FDE5-088F-0524F161BF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7980" y="6355461"/>
            <a:ext cx="2743200" cy="366183"/>
          </a:xfrm>
        </p:spPr>
        <p:txBody>
          <a:bodyPr/>
          <a:lstStyle>
            <a:lvl1pPr algn="l">
              <a:defRPr sz="1333">
                <a:solidFill>
                  <a:srgbClr val="0057B7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8E7DCDC-E408-4B61-982D-00D1D5E6AEFC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9866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_CDC_with_tagli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>
            <a:extLst>
              <a:ext uri="{FF2B5EF4-FFF2-40B4-BE49-F238E27FC236}">
                <a16:creationId xmlns:a16="http://schemas.microsoft.com/office/drawing/2014/main" id="{267F8213-0BF4-9CFD-184D-957DBD90BE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0" y="0"/>
            <a:ext cx="12192000" cy="1158861"/>
            <a:chOff x="0" y="1079970"/>
            <a:chExt cx="7112000" cy="224439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1E8587A6-7C1A-EC72-C16A-98204569B39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0" y="1079970"/>
              <a:ext cx="7112000" cy="224308"/>
            </a:xfrm>
            <a:prstGeom prst="rect">
              <a:avLst/>
            </a:prstGeom>
            <a:solidFill>
              <a:srgbClr val="0057B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749"/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2EB7A224-4867-EA38-EAA4-ECD97FF9203A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430" y="1080101"/>
              <a:ext cx="5345267" cy="224308"/>
              <a:chOff x="1771" y="389"/>
              <a:chExt cx="18815689" cy="664930"/>
            </a:xfrm>
          </p:grpSpPr>
          <p:sp>
            <p:nvSpPr>
              <p:cNvPr id="44" name="Parallelogram 9">
                <a:extLst>
                  <a:ext uri="{FF2B5EF4-FFF2-40B4-BE49-F238E27FC236}">
                    <a16:creationId xmlns:a16="http://schemas.microsoft.com/office/drawing/2014/main" id="{EA18C2A9-CD91-4656-D4FD-18B4B82E4B8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1771" y="389"/>
                <a:ext cx="2010345" cy="664930"/>
              </a:xfrm>
              <a:custGeom>
                <a:avLst/>
                <a:gdLst>
                  <a:gd name="connsiteX0" fmla="*/ 0 w 2399861"/>
                  <a:gd name="connsiteY0" fmla="*/ 668592 h 668592"/>
                  <a:gd name="connsiteX1" fmla="*/ 167148 w 2399861"/>
                  <a:gd name="connsiteY1" fmla="*/ 0 h 668592"/>
                  <a:gd name="connsiteX2" fmla="*/ 2399861 w 2399861"/>
                  <a:gd name="connsiteY2" fmla="*/ 0 h 668592"/>
                  <a:gd name="connsiteX3" fmla="*/ 2232713 w 2399861"/>
                  <a:gd name="connsiteY3" fmla="*/ 668592 h 668592"/>
                  <a:gd name="connsiteX4" fmla="*/ 0 w 2399861"/>
                  <a:gd name="connsiteY4" fmla="*/ 668592 h 668592"/>
                  <a:gd name="connsiteX0" fmla="*/ 0 w 2261638"/>
                  <a:gd name="connsiteY0" fmla="*/ 668592 h 668592"/>
                  <a:gd name="connsiteX1" fmla="*/ 28925 w 2261638"/>
                  <a:gd name="connsiteY1" fmla="*/ 0 h 668592"/>
                  <a:gd name="connsiteX2" fmla="*/ 2261638 w 2261638"/>
                  <a:gd name="connsiteY2" fmla="*/ 0 h 668592"/>
                  <a:gd name="connsiteX3" fmla="*/ 2094490 w 2261638"/>
                  <a:gd name="connsiteY3" fmla="*/ 668592 h 668592"/>
                  <a:gd name="connsiteX4" fmla="*/ 0 w 2261638"/>
                  <a:gd name="connsiteY4" fmla="*/ 668592 h 66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61638" h="668592">
                    <a:moveTo>
                      <a:pt x="0" y="668592"/>
                    </a:moveTo>
                    <a:lnTo>
                      <a:pt x="28925" y="0"/>
                    </a:lnTo>
                    <a:lnTo>
                      <a:pt x="2261638" y="0"/>
                    </a:lnTo>
                    <a:lnTo>
                      <a:pt x="2094490" y="668592"/>
                    </a:lnTo>
                    <a:lnTo>
                      <a:pt x="0" y="668592"/>
                    </a:lnTo>
                    <a:close/>
                  </a:path>
                </a:pathLst>
              </a:custGeom>
              <a:solidFill>
                <a:srgbClr val="16438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45" name="Parallelogram 44">
                <a:extLst>
                  <a:ext uri="{FF2B5EF4-FFF2-40B4-BE49-F238E27FC236}">
                    <a16:creationId xmlns:a16="http://schemas.microsoft.com/office/drawing/2014/main" id="{AE0A8C09-00C3-D95E-B5DA-0F0A402DC7AB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1267572" y="389"/>
                <a:ext cx="3829094" cy="664930"/>
              </a:xfrm>
              <a:prstGeom prst="parallelogram">
                <a:avLst/>
              </a:prstGeom>
              <a:solidFill>
                <a:srgbClr val="194D9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46" name="Parallelogram 45">
                <a:extLst>
                  <a:ext uri="{FF2B5EF4-FFF2-40B4-BE49-F238E27FC236}">
                    <a16:creationId xmlns:a16="http://schemas.microsoft.com/office/drawing/2014/main" id="{B944134F-25AD-BEB2-C0BF-43DF4B11FC3F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4209773" y="389"/>
                <a:ext cx="4996928" cy="664930"/>
              </a:xfrm>
              <a:prstGeom prst="parallelogram">
                <a:avLst/>
              </a:prstGeom>
              <a:solidFill>
                <a:srgbClr val="1C56A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47" name="Parallelogram 46">
                <a:extLst>
                  <a:ext uri="{FF2B5EF4-FFF2-40B4-BE49-F238E27FC236}">
                    <a16:creationId xmlns:a16="http://schemas.microsoft.com/office/drawing/2014/main" id="{A01506F6-4045-30A7-1967-7A2272067890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8136570" y="389"/>
                <a:ext cx="6026733" cy="664930"/>
              </a:xfrm>
              <a:prstGeom prst="parallelogram">
                <a:avLst/>
              </a:prstGeom>
              <a:solidFill>
                <a:srgbClr val="1E5DB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48" name="Parallelogram 47">
                <a:extLst>
                  <a:ext uri="{FF2B5EF4-FFF2-40B4-BE49-F238E27FC236}">
                    <a16:creationId xmlns:a16="http://schemas.microsoft.com/office/drawing/2014/main" id="{E1EB0327-76CF-A70A-BE29-7C1C2819C1B3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15172395" y="389"/>
                <a:ext cx="3645065" cy="664930"/>
              </a:xfrm>
              <a:prstGeom prst="parallelogram">
                <a:avLst/>
              </a:prstGeom>
              <a:solidFill>
                <a:srgbClr val="0057B7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</p:grpSp>
      </p:grpSp>
      <p:sp>
        <p:nvSpPr>
          <p:cNvPr id="7" name="Title 1"/>
          <p:cNvSpPr>
            <a:spLocks noGrp="1"/>
          </p:cNvSpPr>
          <p:nvPr userDrawn="1">
            <p:ph type="title"/>
          </p:nvPr>
        </p:nvSpPr>
        <p:spPr>
          <a:xfrm>
            <a:off x="609600" y="1184276"/>
            <a:ext cx="10972800" cy="1143000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4000"/>
              </a:lnSpc>
              <a:defRPr sz="3733" b="1" baseline="0">
                <a:solidFill>
                  <a:srgbClr val="0057B7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Subtitle 2"/>
          <p:cNvSpPr>
            <a:spLocks noGrp="1"/>
          </p:cNvSpPr>
          <p:nvPr userDrawn="1">
            <p:ph type="subTitle" idx="1"/>
          </p:nvPr>
        </p:nvSpPr>
        <p:spPr>
          <a:xfrm>
            <a:off x="609600" y="2859349"/>
            <a:ext cx="8534400" cy="4572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67" b="1" baseline="0">
                <a:solidFill>
                  <a:srgbClr val="0057B7"/>
                </a:solidFill>
                <a:effectLst/>
                <a:latin typeface="Calibri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/>
          </a:p>
        </p:txBody>
      </p:sp>
      <p:sp>
        <p:nvSpPr>
          <p:cNvPr id="10" name="Text Placeholder 8"/>
          <p:cNvSpPr>
            <a:spLocks noGrp="1"/>
          </p:cNvSpPr>
          <p:nvPr userDrawn="1">
            <p:ph type="body" sz="quarter" idx="10"/>
          </p:nvPr>
        </p:nvSpPr>
        <p:spPr>
          <a:xfrm>
            <a:off x="609600" y="3946019"/>
            <a:ext cx="8534400" cy="12954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667"/>
              </a:lnSpc>
              <a:buNone/>
              <a:defRPr sz="2400" baseline="0">
                <a:solidFill>
                  <a:srgbClr val="1D1D1D"/>
                </a:solidFill>
                <a:latin typeface="Calibri" pitchFamily="34" charset="0"/>
              </a:defRPr>
            </a:lvl1pPr>
            <a:lvl2pPr algn="ctr">
              <a:defRPr>
                <a:solidFill>
                  <a:schemeClr val="tx2"/>
                </a:solidFill>
              </a:defRPr>
            </a:lvl2pPr>
            <a:lvl3pPr algn="ctr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tx2"/>
                </a:solidFill>
              </a:defRPr>
            </a:lvl4pPr>
            <a:lvl5pPr algn="ctr">
              <a:defRPr>
                <a:solidFill>
                  <a:schemeClr val="tx2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A617DD9D-7533-7A57-89FB-4D057BCEAC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372533"/>
            <a:ext cx="9211733" cy="54186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sz="2400" kern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Optional title for CIO nam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328FF65-A5C6-CBFE-D22F-B5C8824E9E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 sz="1333">
                <a:solidFill>
                  <a:srgbClr val="0057B7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8E7DCDC-E408-4B61-982D-00D1D5E6AEFC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8254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_CDC_ATSD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4D200BC-739F-E118-66FF-78E2465168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0" y="0"/>
            <a:ext cx="12192000" cy="1158861"/>
            <a:chOff x="0" y="1079970"/>
            <a:chExt cx="7112000" cy="22443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488B65-51B9-24CC-82CF-581585667F6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0" y="1079970"/>
              <a:ext cx="7112000" cy="224308"/>
            </a:xfrm>
            <a:prstGeom prst="rect">
              <a:avLst/>
            </a:prstGeom>
            <a:solidFill>
              <a:srgbClr val="0057B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749"/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7EE0707-A628-935A-CECC-70626B3FA8FC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430" y="1080101"/>
              <a:ext cx="5345267" cy="224308"/>
              <a:chOff x="1771" y="389"/>
              <a:chExt cx="18815689" cy="664930"/>
            </a:xfrm>
          </p:grpSpPr>
          <p:sp>
            <p:nvSpPr>
              <p:cNvPr id="11" name="Parallelogram 9">
                <a:extLst>
                  <a:ext uri="{FF2B5EF4-FFF2-40B4-BE49-F238E27FC236}">
                    <a16:creationId xmlns:a16="http://schemas.microsoft.com/office/drawing/2014/main" id="{8C56AB45-808E-D371-67FF-0A735725B5BF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1771" y="389"/>
                <a:ext cx="2010345" cy="664930"/>
              </a:xfrm>
              <a:custGeom>
                <a:avLst/>
                <a:gdLst>
                  <a:gd name="connsiteX0" fmla="*/ 0 w 2399861"/>
                  <a:gd name="connsiteY0" fmla="*/ 668592 h 668592"/>
                  <a:gd name="connsiteX1" fmla="*/ 167148 w 2399861"/>
                  <a:gd name="connsiteY1" fmla="*/ 0 h 668592"/>
                  <a:gd name="connsiteX2" fmla="*/ 2399861 w 2399861"/>
                  <a:gd name="connsiteY2" fmla="*/ 0 h 668592"/>
                  <a:gd name="connsiteX3" fmla="*/ 2232713 w 2399861"/>
                  <a:gd name="connsiteY3" fmla="*/ 668592 h 668592"/>
                  <a:gd name="connsiteX4" fmla="*/ 0 w 2399861"/>
                  <a:gd name="connsiteY4" fmla="*/ 668592 h 668592"/>
                  <a:gd name="connsiteX0" fmla="*/ 0 w 2261638"/>
                  <a:gd name="connsiteY0" fmla="*/ 668592 h 668592"/>
                  <a:gd name="connsiteX1" fmla="*/ 28925 w 2261638"/>
                  <a:gd name="connsiteY1" fmla="*/ 0 h 668592"/>
                  <a:gd name="connsiteX2" fmla="*/ 2261638 w 2261638"/>
                  <a:gd name="connsiteY2" fmla="*/ 0 h 668592"/>
                  <a:gd name="connsiteX3" fmla="*/ 2094490 w 2261638"/>
                  <a:gd name="connsiteY3" fmla="*/ 668592 h 668592"/>
                  <a:gd name="connsiteX4" fmla="*/ 0 w 2261638"/>
                  <a:gd name="connsiteY4" fmla="*/ 668592 h 66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61638" h="668592">
                    <a:moveTo>
                      <a:pt x="0" y="668592"/>
                    </a:moveTo>
                    <a:lnTo>
                      <a:pt x="28925" y="0"/>
                    </a:lnTo>
                    <a:lnTo>
                      <a:pt x="2261638" y="0"/>
                    </a:lnTo>
                    <a:lnTo>
                      <a:pt x="2094490" y="668592"/>
                    </a:lnTo>
                    <a:lnTo>
                      <a:pt x="0" y="668592"/>
                    </a:lnTo>
                    <a:close/>
                  </a:path>
                </a:pathLst>
              </a:custGeom>
              <a:solidFill>
                <a:srgbClr val="16438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12" name="Parallelogram 11">
                <a:extLst>
                  <a:ext uri="{FF2B5EF4-FFF2-40B4-BE49-F238E27FC236}">
                    <a16:creationId xmlns:a16="http://schemas.microsoft.com/office/drawing/2014/main" id="{91CB8924-C83A-F743-E7B7-6A26681D7283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1267572" y="389"/>
                <a:ext cx="3829094" cy="664930"/>
              </a:xfrm>
              <a:prstGeom prst="parallelogram">
                <a:avLst/>
              </a:prstGeom>
              <a:solidFill>
                <a:srgbClr val="194D9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13" name="Parallelogram 12">
                <a:extLst>
                  <a:ext uri="{FF2B5EF4-FFF2-40B4-BE49-F238E27FC236}">
                    <a16:creationId xmlns:a16="http://schemas.microsoft.com/office/drawing/2014/main" id="{352A5B8C-A481-8BA7-8E13-68A6747B9BFD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4209773" y="389"/>
                <a:ext cx="4996928" cy="664930"/>
              </a:xfrm>
              <a:prstGeom prst="parallelogram">
                <a:avLst/>
              </a:prstGeom>
              <a:solidFill>
                <a:srgbClr val="1C56A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14" name="Parallelogram 13">
                <a:extLst>
                  <a:ext uri="{FF2B5EF4-FFF2-40B4-BE49-F238E27FC236}">
                    <a16:creationId xmlns:a16="http://schemas.microsoft.com/office/drawing/2014/main" id="{DAB573E3-591C-13FE-7262-EA1F1564CB36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8136570" y="389"/>
                <a:ext cx="6026733" cy="664930"/>
              </a:xfrm>
              <a:prstGeom prst="parallelogram">
                <a:avLst/>
              </a:prstGeom>
              <a:solidFill>
                <a:srgbClr val="1E5DB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15" name="Parallelogram 14">
                <a:extLst>
                  <a:ext uri="{FF2B5EF4-FFF2-40B4-BE49-F238E27FC236}">
                    <a16:creationId xmlns:a16="http://schemas.microsoft.com/office/drawing/2014/main" id="{C0A06E43-B1E2-116B-6C8D-8AE5C97FA5CC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15172395" y="389"/>
                <a:ext cx="3645065" cy="664930"/>
              </a:xfrm>
              <a:prstGeom prst="parallelogram">
                <a:avLst/>
              </a:prstGeom>
              <a:solidFill>
                <a:srgbClr val="0057B7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</p:grpSp>
      </p:grpSp>
      <p:sp>
        <p:nvSpPr>
          <p:cNvPr id="7" name="Title 1"/>
          <p:cNvSpPr>
            <a:spLocks noGrp="1"/>
          </p:cNvSpPr>
          <p:nvPr userDrawn="1">
            <p:ph type="title"/>
          </p:nvPr>
        </p:nvSpPr>
        <p:spPr>
          <a:xfrm>
            <a:off x="609600" y="1184275"/>
            <a:ext cx="10972800" cy="1146048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4000"/>
              </a:lnSpc>
              <a:defRPr sz="3733" b="1" baseline="0">
                <a:solidFill>
                  <a:srgbClr val="0057B7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Subtitle 2"/>
          <p:cNvSpPr>
            <a:spLocks noGrp="1"/>
          </p:cNvSpPr>
          <p:nvPr userDrawn="1">
            <p:ph type="subTitle" idx="1"/>
          </p:nvPr>
        </p:nvSpPr>
        <p:spPr>
          <a:xfrm>
            <a:off x="609600" y="2859349"/>
            <a:ext cx="8534400" cy="4572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67" b="1" baseline="0">
                <a:solidFill>
                  <a:srgbClr val="0057B7"/>
                </a:solidFill>
                <a:effectLst/>
                <a:latin typeface="Calibri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/>
          </a:p>
        </p:txBody>
      </p:sp>
      <p:sp>
        <p:nvSpPr>
          <p:cNvPr id="10" name="Text Placeholder 8"/>
          <p:cNvSpPr>
            <a:spLocks noGrp="1"/>
          </p:cNvSpPr>
          <p:nvPr userDrawn="1">
            <p:ph type="body" sz="quarter" idx="10"/>
          </p:nvPr>
        </p:nvSpPr>
        <p:spPr>
          <a:xfrm>
            <a:off x="609600" y="3946019"/>
            <a:ext cx="8534400" cy="12954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667"/>
              </a:lnSpc>
              <a:buNone/>
              <a:defRPr sz="2400" baseline="0">
                <a:solidFill>
                  <a:srgbClr val="1D1D1D"/>
                </a:solidFill>
                <a:latin typeface="Calibri" pitchFamily="34" charset="0"/>
              </a:defRPr>
            </a:lvl1pPr>
            <a:lvl2pPr algn="ctr">
              <a:defRPr>
                <a:solidFill>
                  <a:schemeClr val="tx2"/>
                </a:solidFill>
              </a:defRPr>
            </a:lvl2pPr>
            <a:lvl3pPr algn="ctr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tx2"/>
                </a:solidFill>
              </a:defRPr>
            </a:lvl4pPr>
            <a:lvl5pPr algn="ctr">
              <a:defRPr>
                <a:solidFill>
                  <a:schemeClr val="tx2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28E5FCF9-D4BB-C238-A1FB-70D35E4A4B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57B7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8E7DCDC-E408-4B61-982D-00D1D5E6AEFC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4632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OPTION 1">
    <p:bg>
      <p:bgPr>
        <a:solidFill>
          <a:srgbClr val="0057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4467097"/>
            <a:ext cx="10972800" cy="1143000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5333"/>
              </a:lnSpc>
              <a:defRPr sz="4800" b="1" baseline="0">
                <a:solidFill>
                  <a:schemeClr val="bg2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609601" y="5610098"/>
            <a:ext cx="10363200" cy="56832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ts val="2667"/>
              </a:lnSpc>
              <a:buNone/>
              <a:defRPr sz="2667" baseline="0">
                <a:solidFill>
                  <a:schemeClr val="bg2"/>
                </a:solidFill>
                <a:latin typeface="Calibri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CAB115-5E7C-25FD-D47F-33D7F9B627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65408" y="6356350"/>
            <a:ext cx="753275" cy="36618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8E7DCDC-E408-4B61-982D-00D1D5E6AEFC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701374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OPTION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C26368FE-BB30-52F8-89C1-D155114AB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0" y="0"/>
            <a:ext cx="12192000" cy="1158861"/>
            <a:chOff x="0" y="1079970"/>
            <a:chExt cx="7112000" cy="224439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5A2EC66-252E-FB31-C586-41F7DC2F7D6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0" y="1079970"/>
              <a:ext cx="7112000" cy="224308"/>
            </a:xfrm>
            <a:prstGeom prst="rect">
              <a:avLst/>
            </a:prstGeom>
            <a:solidFill>
              <a:srgbClr val="0057B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749"/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DF158DF-BAF5-68F6-78E1-1E179A3E0136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430" y="1080101"/>
              <a:ext cx="5345267" cy="224308"/>
              <a:chOff x="1771" y="389"/>
              <a:chExt cx="18815689" cy="664930"/>
            </a:xfrm>
          </p:grpSpPr>
          <p:sp>
            <p:nvSpPr>
              <p:cNvPr id="24" name="Parallelogram 9">
                <a:extLst>
                  <a:ext uri="{FF2B5EF4-FFF2-40B4-BE49-F238E27FC236}">
                    <a16:creationId xmlns:a16="http://schemas.microsoft.com/office/drawing/2014/main" id="{143E1EDA-4AF6-C976-C4EF-C1C84A0090F1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1771" y="389"/>
                <a:ext cx="2010345" cy="664930"/>
              </a:xfrm>
              <a:custGeom>
                <a:avLst/>
                <a:gdLst>
                  <a:gd name="connsiteX0" fmla="*/ 0 w 2399861"/>
                  <a:gd name="connsiteY0" fmla="*/ 668592 h 668592"/>
                  <a:gd name="connsiteX1" fmla="*/ 167148 w 2399861"/>
                  <a:gd name="connsiteY1" fmla="*/ 0 h 668592"/>
                  <a:gd name="connsiteX2" fmla="*/ 2399861 w 2399861"/>
                  <a:gd name="connsiteY2" fmla="*/ 0 h 668592"/>
                  <a:gd name="connsiteX3" fmla="*/ 2232713 w 2399861"/>
                  <a:gd name="connsiteY3" fmla="*/ 668592 h 668592"/>
                  <a:gd name="connsiteX4" fmla="*/ 0 w 2399861"/>
                  <a:gd name="connsiteY4" fmla="*/ 668592 h 668592"/>
                  <a:gd name="connsiteX0" fmla="*/ 0 w 2261638"/>
                  <a:gd name="connsiteY0" fmla="*/ 668592 h 668592"/>
                  <a:gd name="connsiteX1" fmla="*/ 28925 w 2261638"/>
                  <a:gd name="connsiteY1" fmla="*/ 0 h 668592"/>
                  <a:gd name="connsiteX2" fmla="*/ 2261638 w 2261638"/>
                  <a:gd name="connsiteY2" fmla="*/ 0 h 668592"/>
                  <a:gd name="connsiteX3" fmla="*/ 2094490 w 2261638"/>
                  <a:gd name="connsiteY3" fmla="*/ 668592 h 668592"/>
                  <a:gd name="connsiteX4" fmla="*/ 0 w 2261638"/>
                  <a:gd name="connsiteY4" fmla="*/ 668592 h 66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61638" h="668592">
                    <a:moveTo>
                      <a:pt x="0" y="668592"/>
                    </a:moveTo>
                    <a:lnTo>
                      <a:pt x="28925" y="0"/>
                    </a:lnTo>
                    <a:lnTo>
                      <a:pt x="2261638" y="0"/>
                    </a:lnTo>
                    <a:lnTo>
                      <a:pt x="2094490" y="668592"/>
                    </a:lnTo>
                    <a:lnTo>
                      <a:pt x="0" y="668592"/>
                    </a:lnTo>
                    <a:close/>
                  </a:path>
                </a:pathLst>
              </a:custGeom>
              <a:solidFill>
                <a:srgbClr val="16438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25" name="Parallelogram 24">
                <a:extLst>
                  <a:ext uri="{FF2B5EF4-FFF2-40B4-BE49-F238E27FC236}">
                    <a16:creationId xmlns:a16="http://schemas.microsoft.com/office/drawing/2014/main" id="{F6FA40E6-EF82-BF3D-A917-8B343EC5949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1267572" y="389"/>
                <a:ext cx="3829094" cy="664930"/>
              </a:xfrm>
              <a:prstGeom prst="parallelogram">
                <a:avLst/>
              </a:prstGeom>
              <a:solidFill>
                <a:srgbClr val="194D9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26" name="Parallelogram 25">
                <a:extLst>
                  <a:ext uri="{FF2B5EF4-FFF2-40B4-BE49-F238E27FC236}">
                    <a16:creationId xmlns:a16="http://schemas.microsoft.com/office/drawing/2014/main" id="{23549B84-60EC-73B4-5015-36EDBB01E4AA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4209773" y="389"/>
                <a:ext cx="4996928" cy="664930"/>
              </a:xfrm>
              <a:prstGeom prst="parallelogram">
                <a:avLst/>
              </a:prstGeom>
              <a:solidFill>
                <a:srgbClr val="1C56A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27" name="Parallelogram 26">
                <a:extLst>
                  <a:ext uri="{FF2B5EF4-FFF2-40B4-BE49-F238E27FC236}">
                    <a16:creationId xmlns:a16="http://schemas.microsoft.com/office/drawing/2014/main" id="{5C53FF0A-86FC-1D88-9239-97955B1F770D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8136570" y="389"/>
                <a:ext cx="6026733" cy="664930"/>
              </a:xfrm>
              <a:prstGeom prst="parallelogram">
                <a:avLst/>
              </a:prstGeom>
              <a:solidFill>
                <a:srgbClr val="1E5DB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28" name="Parallelogram 27">
                <a:extLst>
                  <a:ext uri="{FF2B5EF4-FFF2-40B4-BE49-F238E27FC236}">
                    <a16:creationId xmlns:a16="http://schemas.microsoft.com/office/drawing/2014/main" id="{6AF49E4E-32CD-B60C-5A81-83D00D5ACF6D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15172395" y="389"/>
                <a:ext cx="3645065" cy="664930"/>
              </a:xfrm>
              <a:prstGeom prst="parallelogram">
                <a:avLst/>
              </a:prstGeom>
              <a:solidFill>
                <a:srgbClr val="0057B7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F6E5637B-3F0C-2926-5B7D-F69F43A279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1" y="6725265"/>
            <a:ext cx="12192001" cy="142567"/>
            <a:chOff x="7355954" y="15880786"/>
            <a:chExt cx="21904846" cy="578414"/>
          </a:xfrm>
        </p:grpSpPr>
        <p:sp>
          <p:nvSpPr>
            <p:cNvPr id="5" name="Rectangle 20">
              <a:extLst>
                <a:ext uri="{FF2B5EF4-FFF2-40B4-BE49-F238E27FC236}">
                  <a16:creationId xmlns:a16="http://schemas.microsoft.com/office/drawing/2014/main" id="{300377C4-FCF5-82F7-7DB1-68E20E9DF843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auto">
            <a:xfrm flipV="1">
              <a:off x="21984029" y="15880786"/>
              <a:ext cx="2432923" cy="578414"/>
            </a:xfrm>
            <a:prstGeom prst="rect">
              <a:avLst/>
            </a:prstGeom>
            <a:solidFill>
              <a:srgbClr val="194D93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3333"/>
            </a:p>
          </p:txBody>
        </p:sp>
        <p:sp>
          <p:nvSpPr>
            <p:cNvPr id="6" name="Rectangle 20">
              <a:extLst>
                <a:ext uri="{FF2B5EF4-FFF2-40B4-BE49-F238E27FC236}">
                  <a16:creationId xmlns:a16="http://schemas.microsoft.com/office/drawing/2014/main" id="{8617F19E-1B06-5F6E-BC5F-B4999383D26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auto">
            <a:xfrm flipV="1">
              <a:off x="24406350" y="15880786"/>
              <a:ext cx="2432923" cy="578414"/>
            </a:xfrm>
            <a:prstGeom prst="rect">
              <a:avLst/>
            </a:prstGeom>
            <a:solidFill>
              <a:srgbClr val="1C56A4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3333"/>
            </a:p>
          </p:txBody>
        </p:sp>
        <p:sp>
          <p:nvSpPr>
            <p:cNvPr id="7" name="Rectangle 20">
              <a:extLst>
                <a:ext uri="{FF2B5EF4-FFF2-40B4-BE49-F238E27FC236}">
                  <a16:creationId xmlns:a16="http://schemas.microsoft.com/office/drawing/2014/main" id="{A43CC56B-482B-7088-88A1-9E73AE17CF3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auto">
            <a:xfrm flipV="1">
              <a:off x="26827877" y="15880786"/>
              <a:ext cx="2432923" cy="578414"/>
            </a:xfrm>
            <a:prstGeom prst="rect">
              <a:avLst/>
            </a:prstGeom>
            <a:solidFill>
              <a:srgbClr val="1E5DB2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3333"/>
            </a:p>
          </p:txBody>
        </p:sp>
        <p:sp>
          <p:nvSpPr>
            <p:cNvPr id="8" name="Rectangle 20">
              <a:extLst>
                <a:ext uri="{FF2B5EF4-FFF2-40B4-BE49-F238E27FC236}">
                  <a16:creationId xmlns:a16="http://schemas.microsoft.com/office/drawing/2014/main" id="{CAD4BAC6-1B0A-39BB-6345-BC7EBD64783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auto">
            <a:xfrm flipV="1">
              <a:off x="7355954" y="15880786"/>
              <a:ext cx="14644447" cy="578414"/>
            </a:xfrm>
            <a:prstGeom prst="rect">
              <a:avLst/>
            </a:prstGeom>
            <a:solidFill>
              <a:srgbClr val="164380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3333"/>
            </a:p>
          </p:txBody>
        </p:sp>
      </p:grpSp>
      <p:sp>
        <p:nvSpPr>
          <p:cNvPr id="11" name="Title 1">
            <a:extLst>
              <a:ext uri="{FF2B5EF4-FFF2-40B4-BE49-F238E27FC236}">
                <a16:creationId xmlns:a16="http://schemas.microsoft.com/office/drawing/2014/main" id="{6E2CA051-2C2A-C819-70ED-EB963429D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4467097"/>
            <a:ext cx="10972800" cy="1143000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5333"/>
              </a:lnSpc>
              <a:defRPr sz="4800" b="1" baseline="0">
                <a:solidFill>
                  <a:srgbClr val="0057B7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8CB9565-742B-02A4-5552-FD20A36E6D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5608320"/>
            <a:ext cx="10363200" cy="568325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ts val="2667"/>
              </a:lnSpc>
              <a:buNone/>
              <a:defRPr sz="2667" baseline="0">
                <a:solidFill>
                  <a:srgbClr val="000000"/>
                </a:solidFill>
                <a:latin typeface="Calibri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3BDCA29-50E7-82FD-B0E3-51922FF87A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14933" y="6397680"/>
            <a:ext cx="539217" cy="366425"/>
          </a:xfrm>
        </p:spPr>
        <p:txBody>
          <a:bodyPr/>
          <a:lstStyle>
            <a:lvl1pPr>
              <a:defRPr>
                <a:solidFill>
                  <a:srgbClr val="0057B7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8E7DCDC-E408-4B61-982D-00D1D5E6AEFC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66488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2-s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0057B7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8BFD30-ED28-4470-96F2-C90951794F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1" y="1811867"/>
            <a:ext cx="5185833" cy="4421717"/>
          </a:xfrm>
        </p:spPr>
        <p:txBody>
          <a:bodyPr/>
          <a:lstStyle>
            <a:lvl1pPr marL="304792" indent="-304792">
              <a:buClr>
                <a:srgbClr val="003BC0"/>
              </a:buClr>
              <a:buFont typeface="Arial" panose="020B0604020202020204" pitchFamily="34" charset="0"/>
              <a:buChar char="•"/>
              <a:defRPr sz="2667" b="1">
                <a:solidFill>
                  <a:srgbClr val="1D1D1D"/>
                </a:solidFill>
              </a:defRPr>
            </a:lvl1pPr>
            <a:lvl2pPr marL="609585" indent="-228594">
              <a:buClr>
                <a:srgbClr val="005761"/>
              </a:buClr>
              <a:buFont typeface="Arial" panose="020B0604020202020204" pitchFamily="34" charset="0"/>
              <a:buChar char="-"/>
              <a:defRPr sz="2400">
                <a:solidFill>
                  <a:srgbClr val="1D1D1D"/>
                </a:solidFill>
              </a:defRPr>
            </a:lvl2pPr>
            <a:lvl3pPr>
              <a:defRPr sz="2133">
                <a:solidFill>
                  <a:srgbClr val="1D1D1D"/>
                </a:solidFill>
              </a:defRPr>
            </a:lvl3pPr>
            <a:lvl4pPr>
              <a:defRPr sz="1867">
                <a:solidFill>
                  <a:srgbClr val="1D1D1D"/>
                </a:solidFill>
              </a:defRPr>
            </a:lvl4pPr>
            <a:lvl5pPr>
              <a:defRPr sz="1867">
                <a:solidFill>
                  <a:srgbClr val="1D1D1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9308A1BA-F127-444C-8EEB-78BB410C70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96568" y="1811867"/>
            <a:ext cx="5185833" cy="4421717"/>
          </a:xfrm>
        </p:spPr>
        <p:txBody>
          <a:bodyPr/>
          <a:lstStyle>
            <a:lvl1pPr marL="304792" indent="-304792">
              <a:buClr>
                <a:srgbClr val="0033A1"/>
              </a:buClr>
              <a:buFont typeface="Arial" panose="020B0604020202020204" pitchFamily="34" charset="0"/>
              <a:buChar char="•"/>
              <a:defRPr sz="2667" b="1">
                <a:solidFill>
                  <a:srgbClr val="1D1D1D"/>
                </a:solidFill>
              </a:defRPr>
            </a:lvl1pPr>
            <a:lvl2pPr marL="609585" indent="-228594">
              <a:buClr>
                <a:srgbClr val="005761"/>
              </a:buClr>
              <a:buFont typeface="Arial" panose="020B0604020202020204" pitchFamily="34" charset="0"/>
              <a:buChar char="-"/>
              <a:tabLst>
                <a:tab pos="380990" algn="l"/>
              </a:tabLst>
              <a:defRPr sz="2400">
                <a:solidFill>
                  <a:srgbClr val="1D1D1D"/>
                </a:solidFill>
              </a:defRPr>
            </a:lvl2pPr>
            <a:lvl3pPr>
              <a:defRPr sz="2133">
                <a:solidFill>
                  <a:srgbClr val="1D1D1D"/>
                </a:solidFill>
              </a:defRPr>
            </a:lvl3pPr>
            <a:lvl4pPr>
              <a:defRPr sz="1867">
                <a:solidFill>
                  <a:srgbClr val="1D1D1D"/>
                </a:solidFill>
              </a:defRPr>
            </a:lvl4pPr>
            <a:lvl5pPr>
              <a:defRPr sz="1867">
                <a:solidFill>
                  <a:srgbClr val="1D1D1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3F77754-22A0-2E82-7821-2D551EA530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1" y="6725265"/>
            <a:ext cx="12192001" cy="142567"/>
            <a:chOff x="7355954" y="15880786"/>
            <a:chExt cx="21904846" cy="578414"/>
          </a:xfrm>
        </p:grpSpPr>
        <p:sp>
          <p:nvSpPr>
            <p:cNvPr id="12" name="Rectangle 20">
              <a:extLst>
                <a:ext uri="{FF2B5EF4-FFF2-40B4-BE49-F238E27FC236}">
                  <a16:creationId xmlns:a16="http://schemas.microsoft.com/office/drawing/2014/main" id="{FA84B6E9-CB28-F3EC-FE9B-CD95E83CFF6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auto">
            <a:xfrm flipV="1">
              <a:off x="21984029" y="15880786"/>
              <a:ext cx="2432923" cy="578414"/>
            </a:xfrm>
            <a:prstGeom prst="rect">
              <a:avLst/>
            </a:prstGeom>
            <a:solidFill>
              <a:srgbClr val="194D93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3333"/>
            </a:p>
          </p:txBody>
        </p:sp>
        <p:sp>
          <p:nvSpPr>
            <p:cNvPr id="13" name="Rectangle 20">
              <a:extLst>
                <a:ext uri="{FF2B5EF4-FFF2-40B4-BE49-F238E27FC236}">
                  <a16:creationId xmlns:a16="http://schemas.microsoft.com/office/drawing/2014/main" id="{E3E7FB67-DA74-9748-2B12-CFD70C373C6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auto">
            <a:xfrm flipV="1">
              <a:off x="24406350" y="15880786"/>
              <a:ext cx="2432923" cy="578414"/>
            </a:xfrm>
            <a:prstGeom prst="rect">
              <a:avLst/>
            </a:prstGeom>
            <a:solidFill>
              <a:srgbClr val="1C56A4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3333"/>
            </a:p>
          </p:txBody>
        </p:sp>
        <p:sp>
          <p:nvSpPr>
            <p:cNvPr id="14" name="Rectangle 20">
              <a:extLst>
                <a:ext uri="{FF2B5EF4-FFF2-40B4-BE49-F238E27FC236}">
                  <a16:creationId xmlns:a16="http://schemas.microsoft.com/office/drawing/2014/main" id="{CB6F0725-60D8-6C7C-D80E-17BCC9E630C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auto">
            <a:xfrm flipV="1">
              <a:off x="26827877" y="15880786"/>
              <a:ext cx="2432923" cy="578414"/>
            </a:xfrm>
            <a:prstGeom prst="rect">
              <a:avLst/>
            </a:prstGeom>
            <a:solidFill>
              <a:srgbClr val="1E5DB2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3333"/>
            </a:p>
          </p:txBody>
        </p:sp>
        <p:sp>
          <p:nvSpPr>
            <p:cNvPr id="15" name="Rectangle 20">
              <a:extLst>
                <a:ext uri="{FF2B5EF4-FFF2-40B4-BE49-F238E27FC236}">
                  <a16:creationId xmlns:a16="http://schemas.microsoft.com/office/drawing/2014/main" id="{6D41011B-EA59-1C4E-7A59-087B094B7D3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auto">
            <a:xfrm flipV="1">
              <a:off x="7355954" y="15880786"/>
              <a:ext cx="14644447" cy="578414"/>
            </a:xfrm>
            <a:prstGeom prst="rect">
              <a:avLst/>
            </a:prstGeom>
            <a:solidFill>
              <a:srgbClr val="164380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3333"/>
            </a:p>
          </p:txBody>
        </p:sp>
      </p:grp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1F4A2EA4-CB15-F760-81BC-C412F587A4B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4200" y="6416841"/>
            <a:ext cx="10779488" cy="292212"/>
          </a:xfrm>
        </p:spPr>
        <p:txBody>
          <a:bodyPr/>
          <a:lstStyle>
            <a:lvl1pPr marL="0" indent="0">
              <a:buNone/>
              <a:defRPr sz="1067"/>
            </a:lvl1pPr>
          </a:lstStyle>
          <a:p>
            <a:pPr lvl="0"/>
            <a:endParaRPr lang="en-US"/>
          </a:p>
        </p:txBody>
      </p:sp>
      <p:sp>
        <p:nvSpPr>
          <p:cNvPr id="4" name="Slide Number Placeholder 11">
            <a:extLst>
              <a:ext uri="{FF2B5EF4-FFF2-40B4-BE49-F238E27FC236}">
                <a16:creationId xmlns:a16="http://schemas.microsoft.com/office/drawing/2014/main" id="{BB1B9751-7180-4936-9F8D-56531DFB41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21440" y="6400800"/>
            <a:ext cx="536448" cy="365760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rgbClr val="0057B7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E1A0740-F252-4427-A288-A0F9AF0CD4D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10235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D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23A17BC3-1F5B-28A0-7789-0DA0C7A50D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0" y="5699139"/>
            <a:ext cx="12192000" cy="1158861"/>
            <a:chOff x="0" y="4274354"/>
            <a:chExt cx="9144000" cy="86914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531CF5A-461C-2AF2-2E63-53A651F732B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>
            <a:xfrm>
              <a:off x="0" y="4274354"/>
              <a:ext cx="9144000" cy="869146"/>
            </a:xfrm>
            <a:prstGeom prst="rect">
              <a:avLst/>
            </a:prstGeom>
            <a:solidFill>
              <a:srgbClr val="0057B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749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88A96CBD-9BC4-3F48-F0A5-DB94DE1071B8}"/>
                </a:ext>
              </a:extLst>
            </p:cNvPr>
            <p:cNvGrpSpPr>
              <a:grpSpLocks noGrp="1" noUngrp="1" noRot="1" noMove="1" noResize="1"/>
            </p:cNvGrpSpPr>
            <p:nvPr userDrawn="1"/>
          </p:nvGrpSpPr>
          <p:grpSpPr>
            <a:xfrm>
              <a:off x="553" y="4274861"/>
              <a:ext cx="5172541" cy="868639"/>
              <a:chOff x="1771" y="389"/>
              <a:chExt cx="14161532" cy="664930"/>
            </a:xfrm>
          </p:grpSpPr>
          <p:sp>
            <p:nvSpPr>
              <p:cNvPr id="18" name="Parallelogram 9">
                <a:extLst>
                  <a:ext uri="{FF2B5EF4-FFF2-40B4-BE49-F238E27FC236}">
                    <a16:creationId xmlns:a16="http://schemas.microsoft.com/office/drawing/2014/main" id="{1DF45998-B7ED-3B13-D19D-C839BC93162C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1771" y="389"/>
                <a:ext cx="2010345" cy="664930"/>
              </a:xfrm>
              <a:custGeom>
                <a:avLst/>
                <a:gdLst>
                  <a:gd name="connsiteX0" fmla="*/ 0 w 2399861"/>
                  <a:gd name="connsiteY0" fmla="*/ 668592 h 668592"/>
                  <a:gd name="connsiteX1" fmla="*/ 167148 w 2399861"/>
                  <a:gd name="connsiteY1" fmla="*/ 0 h 668592"/>
                  <a:gd name="connsiteX2" fmla="*/ 2399861 w 2399861"/>
                  <a:gd name="connsiteY2" fmla="*/ 0 h 668592"/>
                  <a:gd name="connsiteX3" fmla="*/ 2232713 w 2399861"/>
                  <a:gd name="connsiteY3" fmla="*/ 668592 h 668592"/>
                  <a:gd name="connsiteX4" fmla="*/ 0 w 2399861"/>
                  <a:gd name="connsiteY4" fmla="*/ 668592 h 668592"/>
                  <a:gd name="connsiteX0" fmla="*/ 0 w 2261638"/>
                  <a:gd name="connsiteY0" fmla="*/ 668592 h 668592"/>
                  <a:gd name="connsiteX1" fmla="*/ 28925 w 2261638"/>
                  <a:gd name="connsiteY1" fmla="*/ 0 h 668592"/>
                  <a:gd name="connsiteX2" fmla="*/ 2261638 w 2261638"/>
                  <a:gd name="connsiteY2" fmla="*/ 0 h 668592"/>
                  <a:gd name="connsiteX3" fmla="*/ 2094490 w 2261638"/>
                  <a:gd name="connsiteY3" fmla="*/ 668592 h 668592"/>
                  <a:gd name="connsiteX4" fmla="*/ 0 w 2261638"/>
                  <a:gd name="connsiteY4" fmla="*/ 668592 h 66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61638" h="668592">
                    <a:moveTo>
                      <a:pt x="0" y="668592"/>
                    </a:moveTo>
                    <a:lnTo>
                      <a:pt x="28925" y="0"/>
                    </a:lnTo>
                    <a:lnTo>
                      <a:pt x="2261638" y="0"/>
                    </a:lnTo>
                    <a:lnTo>
                      <a:pt x="2094490" y="668592"/>
                    </a:lnTo>
                    <a:lnTo>
                      <a:pt x="0" y="668592"/>
                    </a:lnTo>
                    <a:close/>
                  </a:path>
                </a:pathLst>
              </a:custGeom>
              <a:solidFill>
                <a:srgbClr val="16438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2C94CA9D-1D40-AB06-E28C-01B79FC23B99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1267572" y="389"/>
                <a:ext cx="3829094" cy="664930"/>
              </a:xfrm>
              <a:prstGeom prst="parallelogram">
                <a:avLst/>
              </a:prstGeom>
              <a:solidFill>
                <a:srgbClr val="194D9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2E700AAC-8ED5-0BD9-0D59-78D98E213E6D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4209773" y="389"/>
                <a:ext cx="4996928" cy="664930"/>
              </a:xfrm>
              <a:prstGeom prst="parallelogram">
                <a:avLst/>
              </a:prstGeom>
              <a:solidFill>
                <a:srgbClr val="1C56A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21" name="Parallelogram 20">
                <a:extLst>
                  <a:ext uri="{FF2B5EF4-FFF2-40B4-BE49-F238E27FC236}">
                    <a16:creationId xmlns:a16="http://schemas.microsoft.com/office/drawing/2014/main" id="{524E04CF-F3D6-66B2-FB7C-10C171C17462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 userDrawn="1"/>
            </p:nvSpPr>
            <p:spPr>
              <a:xfrm>
                <a:off x="8136570" y="389"/>
                <a:ext cx="6026733" cy="664930"/>
              </a:xfrm>
              <a:prstGeom prst="parallelogram">
                <a:avLst/>
              </a:prstGeom>
              <a:solidFill>
                <a:srgbClr val="1E5DB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</p:grp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DA1AAE42-4A62-8308-16A3-AF933411C0D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600" y="280416"/>
            <a:ext cx="10972800" cy="1143000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4000"/>
              </a:lnSpc>
              <a:defRPr sz="3733" b="1">
                <a:solidFill>
                  <a:srgbClr val="0057B7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D74EFB-518F-C978-3CDA-5C27004A66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21440" y="5364481"/>
            <a:ext cx="536448" cy="366183"/>
          </a:xfrm>
        </p:spPr>
        <p:txBody>
          <a:bodyPr/>
          <a:lstStyle>
            <a:lvl1pPr>
              <a:defRPr>
                <a:solidFill>
                  <a:srgbClr val="0057B7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8E7DCDC-E408-4B61-982D-00D1D5E6AEFC}" type="slidenum">
              <a:rPr lang="en-US" smtClean="0"/>
              <a:pPr/>
              <a:t>‹N°›</a:t>
            </a:fld>
            <a:endParaRPr lang="en-US"/>
          </a:p>
        </p:txBody>
      </p:sp>
      <p:pic>
        <p:nvPicPr>
          <p:cNvPr id="2" name="Graphic 1" descr="CDC logo with trademark. A blue rectangle with a white border. In the center, white sans-serif letters &quot;CDC&quot; are displayed, with four white rays radiating diagonally from the bottom left to the top right behind the letters.">
            <a:extLst>
              <a:ext uri="{FF2B5EF4-FFF2-40B4-BE49-F238E27FC236}">
                <a16:creationId xmlns:a16="http://schemas.microsoft.com/office/drawing/2014/main" id="{6208287E-A6C6-1BAB-5E93-7158745E07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891279" y="5946501"/>
            <a:ext cx="1069499" cy="677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03974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8EBFF30-7AB3-4E4C-900C-0ABE3022F35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C70B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2CF638-311B-9843-90B8-51FD216489C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729932"/>
            <a:ext cx="9144000" cy="1398135"/>
          </a:xfrm>
        </p:spPr>
        <p:txBody>
          <a:bodyPr anchor="b">
            <a:normAutofit/>
          </a:bodyPr>
          <a:lstStyle>
            <a:lvl1pPr algn="ctr"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04555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DC ATSD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>
            <a:extLst>
              <a:ext uri="{FF2B5EF4-FFF2-40B4-BE49-F238E27FC236}">
                <a16:creationId xmlns:a16="http://schemas.microsoft.com/office/drawing/2014/main" id="{9DE51C5C-061E-82A7-65CD-CB91ADC1E1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/>
          </p:cNvGrpSpPr>
          <p:nvPr userDrawn="1"/>
        </p:nvGrpSpPr>
        <p:grpSpPr>
          <a:xfrm>
            <a:off x="0" y="5699139"/>
            <a:ext cx="12192000" cy="1158861"/>
            <a:chOff x="0" y="4274354"/>
            <a:chExt cx="9144000" cy="869146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032C90D-E6F5-DB53-F053-9B3394B1067E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4274354"/>
              <a:ext cx="9144000" cy="869146"/>
            </a:xfrm>
            <a:prstGeom prst="rect">
              <a:avLst/>
            </a:prstGeom>
            <a:solidFill>
              <a:srgbClr val="0057B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749"/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C15464F-2DC0-02E4-5EBE-4271CBFCFE29}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553" y="4274861"/>
              <a:ext cx="5172541" cy="868639"/>
              <a:chOff x="1771" y="389"/>
              <a:chExt cx="14161532" cy="664930"/>
            </a:xfrm>
          </p:grpSpPr>
          <p:sp>
            <p:nvSpPr>
              <p:cNvPr id="7" name="Parallelogram 9">
                <a:extLst>
                  <a:ext uri="{FF2B5EF4-FFF2-40B4-BE49-F238E27FC236}">
                    <a16:creationId xmlns:a16="http://schemas.microsoft.com/office/drawing/2014/main" id="{4B1DA4E7-9DDE-5DDD-9BAC-121DCC207924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1771" y="389"/>
                <a:ext cx="2010345" cy="664930"/>
              </a:xfrm>
              <a:custGeom>
                <a:avLst/>
                <a:gdLst>
                  <a:gd name="connsiteX0" fmla="*/ 0 w 2399861"/>
                  <a:gd name="connsiteY0" fmla="*/ 668592 h 668592"/>
                  <a:gd name="connsiteX1" fmla="*/ 167148 w 2399861"/>
                  <a:gd name="connsiteY1" fmla="*/ 0 h 668592"/>
                  <a:gd name="connsiteX2" fmla="*/ 2399861 w 2399861"/>
                  <a:gd name="connsiteY2" fmla="*/ 0 h 668592"/>
                  <a:gd name="connsiteX3" fmla="*/ 2232713 w 2399861"/>
                  <a:gd name="connsiteY3" fmla="*/ 668592 h 668592"/>
                  <a:gd name="connsiteX4" fmla="*/ 0 w 2399861"/>
                  <a:gd name="connsiteY4" fmla="*/ 668592 h 668592"/>
                  <a:gd name="connsiteX0" fmla="*/ 0 w 2261638"/>
                  <a:gd name="connsiteY0" fmla="*/ 668592 h 668592"/>
                  <a:gd name="connsiteX1" fmla="*/ 28925 w 2261638"/>
                  <a:gd name="connsiteY1" fmla="*/ 0 h 668592"/>
                  <a:gd name="connsiteX2" fmla="*/ 2261638 w 2261638"/>
                  <a:gd name="connsiteY2" fmla="*/ 0 h 668592"/>
                  <a:gd name="connsiteX3" fmla="*/ 2094490 w 2261638"/>
                  <a:gd name="connsiteY3" fmla="*/ 668592 h 668592"/>
                  <a:gd name="connsiteX4" fmla="*/ 0 w 2261638"/>
                  <a:gd name="connsiteY4" fmla="*/ 668592 h 66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61638" h="668592">
                    <a:moveTo>
                      <a:pt x="0" y="668592"/>
                    </a:moveTo>
                    <a:lnTo>
                      <a:pt x="28925" y="0"/>
                    </a:lnTo>
                    <a:lnTo>
                      <a:pt x="2261638" y="0"/>
                    </a:lnTo>
                    <a:lnTo>
                      <a:pt x="2094490" y="668592"/>
                    </a:lnTo>
                    <a:lnTo>
                      <a:pt x="0" y="668592"/>
                    </a:lnTo>
                    <a:close/>
                  </a:path>
                </a:pathLst>
              </a:custGeom>
              <a:solidFill>
                <a:srgbClr val="16438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8" name="Parallelogram 7">
                <a:extLst>
                  <a:ext uri="{FF2B5EF4-FFF2-40B4-BE49-F238E27FC236}">
                    <a16:creationId xmlns:a16="http://schemas.microsoft.com/office/drawing/2014/main" id="{B86E1BC7-59E7-4F47-5FB3-C02246911E2C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1267572" y="389"/>
                <a:ext cx="3829094" cy="664930"/>
              </a:xfrm>
              <a:prstGeom prst="parallelogram">
                <a:avLst/>
              </a:prstGeom>
              <a:solidFill>
                <a:srgbClr val="194D9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13" name="Parallelogram 12">
                <a:extLst>
                  <a:ext uri="{FF2B5EF4-FFF2-40B4-BE49-F238E27FC236}">
                    <a16:creationId xmlns:a16="http://schemas.microsoft.com/office/drawing/2014/main" id="{1200FC31-8FC6-FF0D-B5D2-3AAF45711FE3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4209773" y="389"/>
                <a:ext cx="4996928" cy="664930"/>
              </a:xfrm>
              <a:prstGeom prst="parallelogram">
                <a:avLst/>
              </a:prstGeom>
              <a:solidFill>
                <a:srgbClr val="1C56A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9E48511E-6721-466F-BC20-6BA94574094F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8136570" y="389"/>
                <a:ext cx="6026733" cy="664930"/>
              </a:xfrm>
              <a:prstGeom prst="parallelogram">
                <a:avLst/>
              </a:prstGeom>
              <a:solidFill>
                <a:srgbClr val="1E5DB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</p:grp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DA1AAE42-4A62-8308-16A3-AF933411C0D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600" y="280416"/>
            <a:ext cx="10972800" cy="1143000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4000"/>
              </a:lnSpc>
              <a:defRPr sz="3733" b="1">
                <a:solidFill>
                  <a:srgbClr val="1E5AA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22D3104C-B56F-273E-8CB7-21BAFD11ED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21440" y="5364481"/>
            <a:ext cx="536448" cy="366183"/>
          </a:xfrm>
        </p:spPr>
        <p:txBody>
          <a:bodyPr/>
          <a:lstStyle>
            <a:lvl1pPr>
              <a:defRPr>
                <a:solidFill>
                  <a:srgbClr val="0057B7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8E7DCDC-E408-4B61-982D-00D1D5E6AEFC}" type="slidenum">
              <a:rPr lang="en-US" smtClean="0"/>
              <a:pPr/>
              <a:t>‹N°›</a:t>
            </a:fld>
            <a:endParaRPr lang="en-US"/>
          </a:p>
        </p:txBody>
      </p:sp>
      <p:pic>
        <p:nvPicPr>
          <p:cNvPr id="3" name="Graphic 2" descr="CDC logo with trademark. A blue rectangle with a white border. In the center, white sans-serif letters &quot;CDC&quot; are displayed, with four white rays radiating diagonally from the bottom left to the top right behind the letters.">
            <a:extLst>
              <a:ext uri="{FF2B5EF4-FFF2-40B4-BE49-F238E27FC236}">
                <a16:creationId xmlns:a16="http://schemas.microsoft.com/office/drawing/2014/main" id="{929714F4-AD3D-2131-3BF9-CCBA0355F9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607200" y="5946501"/>
            <a:ext cx="1069499" cy="677985"/>
          </a:xfrm>
          <a:prstGeom prst="rect">
            <a:avLst/>
          </a:prstGeom>
        </p:spPr>
      </p:pic>
      <p:pic>
        <p:nvPicPr>
          <p:cNvPr id="10" name="Graphic 9" descr="logo, Agency for Toxic Substances and Disease Registry">
            <a:extLst>
              <a:ext uri="{FF2B5EF4-FFF2-40B4-BE49-F238E27FC236}">
                <a16:creationId xmlns:a16="http://schemas.microsoft.com/office/drawing/2014/main" id="{EC223DA9-5D59-BBC5-2CAF-644912510EC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98585" y="6065001"/>
            <a:ext cx="1091980" cy="327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10063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|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3A94291-0D7B-DF48-96B6-72787D42DC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866B10-3FCA-4840-AD3C-F18AA51F3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0E3CB86-093F-1946-BD31-11D22BD0D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7E033C3-FCDC-8747-BE08-BEF45DA6F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45A100A-AF11-1440-B501-CB828C32CF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446534" y="6562726"/>
            <a:ext cx="11293175" cy="97719"/>
            <a:chOff x="446534" y="6478060"/>
            <a:chExt cx="11293174" cy="9771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97ADA09-7AA8-9946-8964-3BAE3DAFE8A7}"/>
                </a:ext>
              </a:extLst>
            </p:cNvPr>
            <p:cNvSpPr/>
            <p:nvPr userDrawn="1"/>
          </p:nvSpPr>
          <p:spPr>
            <a:xfrm>
              <a:off x="446534" y="6478060"/>
              <a:ext cx="7205216" cy="9771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C53E8B6E-5452-1945-A23E-E23F194A7720}"/>
                </a:ext>
              </a:extLst>
            </p:cNvPr>
            <p:cNvGrpSpPr/>
            <p:nvPr userDrawn="1"/>
          </p:nvGrpSpPr>
          <p:grpSpPr>
            <a:xfrm>
              <a:off x="7591778" y="6478439"/>
              <a:ext cx="4147930" cy="97339"/>
              <a:chOff x="6119314" y="6478440"/>
              <a:chExt cx="5676839" cy="93810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46B4ABAA-DE76-B845-9545-0E22FAC4168D}"/>
                  </a:ext>
                </a:extLst>
              </p:cNvPr>
              <p:cNvSpPr/>
              <p:nvPr userDrawn="1"/>
            </p:nvSpPr>
            <p:spPr>
              <a:xfrm>
                <a:off x="6119314" y="6478440"/>
                <a:ext cx="833936" cy="93810"/>
              </a:xfrm>
              <a:prstGeom prst="rect">
                <a:avLst/>
              </a:prstGeom>
              <a:solidFill>
                <a:srgbClr val="8A8D0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C721FFA3-4CD2-D34C-8AC8-1FBC9CA88749}"/>
                  </a:ext>
                </a:extLst>
              </p:cNvPr>
              <p:cNvSpPr/>
              <p:nvPr userDrawn="1"/>
            </p:nvSpPr>
            <p:spPr>
              <a:xfrm>
                <a:off x="6946902" y="6478440"/>
                <a:ext cx="833936" cy="9381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93DC3CF9-B3CD-F84B-84C5-050BDA996197}"/>
                  </a:ext>
                </a:extLst>
              </p:cNvPr>
              <p:cNvSpPr/>
              <p:nvPr userDrawn="1"/>
            </p:nvSpPr>
            <p:spPr>
              <a:xfrm>
                <a:off x="7774519" y="6478440"/>
                <a:ext cx="833936" cy="9381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1E3EAF89-8BF5-E54B-8E64-206C23A19461}"/>
                  </a:ext>
                </a:extLst>
              </p:cNvPr>
              <p:cNvSpPr/>
              <p:nvPr userDrawn="1"/>
            </p:nvSpPr>
            <p:spPr>
              <a:xfrm>
                <a:off x="8602135" y="6478440"/>
                <a:ext cx="833936" cy="9381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80112BF-6169-0443-BAFE-839589130E31}"/>
                  </a:ext>
                </a:extLst>
              </p:cNvPr>
              <p:cNvSpPr/>
              <p:nvPr userDrawn="1"/>
            </p:nvSpPr>
            <p:spPr>
              <a:xfrm>
                <a:off x="9362017" y="6478440"/>
                <a:ext cx="833936" cy="9381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5092F185-164F-D14B-975A-D3FC195C4977}"/>
                  </a:ext>
                </a:extLst>
              </p:cNvPr>
              <p:cNvSpPr/>
              <p:nvPr userDrawn="1"/>
            </p:nvSpPr>
            <p:spPr>
              <a:xfrm>
                <a:off x="10189634" y="6478440"/>
                <a:ext cx="833936" cy="93810"/>
              </a:xfrm>
              <a:prstGeom prst="rect">
                <a:avLst/>
              </a:prstGeom>
              <a:solidFill>
                <a:srgbClr val="FDDC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10014D2-0B93-5D4D-9B80-7D172B8C5F11}"/>
                  </a:ext>
                </a:extLst>
              </p:cNvPr>
              <p:cNvSpPr/>
              <p:nvPr userDrawn="1"/>
            </p:nvSpPr>
            <p:spPr>
              <a:xfrm>
                <a:off x="10962217" y="6478440"/>
                <a:ext cx="833936" cy="93810"/>
              </a:xfrm>
              <a:prstGeom prst="rect">
                <a:avLst/>
              </a:prstGeom>
              <a:solidFill>
                <a:srgbClr val="084797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</p:sp>
        </p:grpSp>
      </p:grp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8C6E31-1339-4340-8E59-29B23D94A29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81194" y="1983706"/>
            <a:ext cx="11029615" cy="3678303"/>
          </a:xfrm>
        </p:spPr>
        <p:txBody>
          <a:bodyPr/>
          <a:lstStyle>
            <a:lvl1pPr>
              <a:buClr>
                <a:schemeClr val="accent2"/>
              </a:buClr>
              <a:defRPr/>
            </a:lvl1pPr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en-US"/>
              <a:t>Edit text (Click icon below if you want to add an object and alt text)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4BB03F69-996C-7949-A380-220A33315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7255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|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E67E3BF6-3CC8-0047-BBA2-FF8805D17D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888" y="-29962"/>
            <a:ext cx="12175112" cy="6887963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182B34E-3313-2C43-86BF-3691D3D4D5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4" y="1983706"/>
            <a:ext cx="11029615" cy="3678303"/>
          </a:xfrm>
        </p:spPr>
        <p:txBody>
          <a:bodyPr/>
          <a:lstStyle>
            <a:lvl1pPr>
              <a:buClr>
                <a:schemeClr val="accent2"/>
              </a:buClr>
              <a:defRPr/>
            </a:lvl1pPr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866B10-3FCA-4840-AD3C-F18AA51F3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0E3CB86-093F-1946-BD31-11D22BD0D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7E033C3-FCDC-8747-BE08-BEF45DA6F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9EA51E6-B005-8848-A06B-8944C8E9D5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9369" y="6554869"/>
            <a:ext cx="902633" cy="70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4595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C3DAE3-FC32-4DC4-B267-FECFECDBF2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C3DAE3-FC32-4DC4-B267-FECFECDBF2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926F5A6-2A3E-48F2-870C-70D3D964C4A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Chronicle Display Black"/>
              <a:sym typeface="Chronicle Display Black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67" y="694944"/>
            <a:ext cx="10955048" cy="594360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2400" b="0" spc="-75" dirty="0">
                <a:latin typeface="+mj-lt"/>
              </a:defRPr>
            </a:lvl1pPr>
          </a:lstStyle>
          <a:p>
            <a:pPr lvl="0" defTabSz="685783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D545910-EC58-4E59-AC9B-9F096DAB35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639" y="466344"/>
            <a:ext cx="3547503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1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594" lvl="0" indent="-228594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2312978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0E7F2F02-184C-4505-8466-02885693FE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anchor="ctr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0057B7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09600" y="1835573"/>
            <a:ext cx="10972800" cy="4176467"/>
          </a:xfrm>
        </p:spPr>
        <p:txBody>
          <a:bodyPr/>
          <a:lstStyle>
            <a:lvl1pPr marL="304784" indent="-304784">
              <a:lnSpc>
                <a:spcPts val="2933"/>
              </a:lnSpc>
              <a:buClr>
                <a:srgbClr val="003BC0"/>
              </a:buClr>
              <a:buFont typeface="Arial" panose="020B0604020202020204" pitchFamily="34" charset="0"/>
              <a:buChar char="•"/>
              <a:defRPr sz="2667" b="1">
                <a:solidFill>
                  <a:srgbClr val="1D1D1D"/>
                </a:solidFill>
              </a:defRPr>
            </a:lvl1pPr>
            <a:lvl2pPr marL="609570" indent="-226473">
              <a:lnSpc>
                <a:spcPts val="2667"/>
              </a:lnSpc>
              <a:buClr>
                <a:srgbClr val="005761"/>
              </a:buClr>
              <a:buFont typeface="Arial" panose="020B0604020202020204" pitchFamily="34" charset="0"/>
              <a:buChar char="-"/>
              <a:tabLst>
                <a:tab pos="533373" algn="l"/>
              </a:tabLst>
              <a:defRPr sz="2400">
                <a:solidFill>
                  <a:srgbClr val="1D1D1D"/>
                </a:solidFill>
              </a:defRPr>
            </a:lvl2pPr>
            <a:lvl3pPr>
              <a:lnSpc>
                <a:spcPts val="2667"/>
              </a:lnSpc>
              <a:buClr>
                <a:srgbClr val="5A5A5A"/>
              </a:buClr>
              <a:defRPr sz="2667">
                <a:solidFill>
                  <a:srgbClr val="1D1D1D"/>
                </a:solidFill>
              </a:defRPr>
            </a:lvl3pPr>
            <a:lvl4pPr>
              <a:defRPr sz="2667">
                <a:solidFill>
                  <a:srgbClr val="1D1D1D"/>
                </a:solidFill>
              </a:defRPr>
            </a:lvl4pPr>
            <a:lvl5pPr>
              <a:defRPr sz="2667">
                <a:solidFill>
                  <a:srgbClr val="1D1D1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5710D62-FA23-37E1-D9CA-4E6562C128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Move="1" noResize="1"/>
          </p:cNvGrpSpPr>
          <p:nvPr userDrawn="1"/>
        </p:nvGrpSpPr>
        <p:grpSpPr>
          <a:xfrm>
            <a:off x="2" y="6725266"/>
            <a:ext cx="12192001" cy="142567"/>
            <a:chOff x="7355954" y="15880786"/>
            <a:chExt cx="21904846" cy="578414"/>
          </a:xfrm>
        </p:grpSpPr>
        <p:sp>
          <p:nvSpPr>
            <p:cNvPr id="3" name="Rectangle 20">
              <a:extLst>
                <a:ext uri="{FF2B5EF4-FFF2-40B4-BE49-F238E27FC236}">
                  <a16:creationId xmlns:a16="http://schemas.microsoft.com/office/drawing/2014/main" id="{3AD231D8-DCA4-570B-4CC6-32EBF38FADD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auto">
            <a:xfrm flipV="1">
              <a:off x="21984029" y="15880786"/>
              <a:ext cx="2432923" cy="578414"/>
            </a:xfrm>
            <a:prstGeom prst="rect">
              <a:avLst/>
            </a:prstGeom>
            <a:solidFill>
              <a:srgbClr val="194D93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3333"/>
            </a:p>
          </p:txBody>
        </p:sp>
        <p:sp>
          <p:nvSpPr>
            <p:cNvPr id="4" name="Rectangle 20">
              <a:extLst>
                <a:ext uri="{FF2B5EF4-FFF2-40B4-BE49-F238E27FC236}">
                  <a16:creationId xmlns:a16="http://schemas.microsoft.com/office/drawing/2014/main" id="{32619D13-D1C6-7836-5897-39ABF07B01EC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auto">
            <a:xfrm flipV="1">
              <a:off x="24406350" y="15880786"/>
              <a:ext cx="2432923" cy="578414"/>
            </a:xfrm>
            <a:prstGeom prst="rect">
              <a:avLst/>
            </a:prstGeom>
            <a:solidFill>
              <a:srgbClr val="1C56A4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3333"/>
            </a:p>
          </p:txBody>
        </p:sp>
        <p:sp>
          <p:nvSpPr>
            <p:cNvPr id="6" name="Rectangle 20">
              <a:extLst>
                <a:ext uri="{FF2B5EF4-FFF2-40B4-BE49-F238E27FC236}">
                  <a16:creationId xmlns:a16="http://schemas.microsoft.com/office/drawing/2014/main" id="{392F6D8E-420B-97AC-FD5D-3185F97EC0C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auto">
            <a:xfrm flipV="1">
              <a:off x="26827877" y="15880786"/>
              <a:ext cx="2432923" cy="578414"/>
            </a:xfrm>
            <a:prstGeom prst="rect">
              <a:avLst/>
            </a:prstGeom>
            <a:solidFill>
              <a:srgbClr val="1E5DB2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3333"/>
            </a:p>
          </p:txBody>
        </p:sp>
        <p:sp>
          <p:nvSpPr>
            <p:cNvPr id="8" name="Rectangle 20">
              <a:extLst>
                <a:ext uri="{FF2B5EF4-FFF2-40B4-BE49-F238E27FC236}">
                  <a16:creationId xmlns:a16="http://schemas.microsoft.com/office/drawing/2014/main" id="{6967D159-E4ED-FA77-F3CA-47CC8A1001C9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 userDrawn="1"/>
          </p:nvSpPr>
          <p:spPr bwMode="auto">
            <a:xfrm flipV="1">
              <a:off x="7355954" y="15880786"/>
              <a:ext cx="14644447" cy="578414"/>
            </a:xfrm>
            <a:prstGeom prst="rect">
              <a:avLst/>
            </a:prstGeom>
            <a:solidFill>
              <a:srgbClr val="164380"/>
            </a:solidFill>
            <a:ln>
              <a:noFill/>
            </a:ln>
          </p:spPr>
          <p:txBody>
            <a:bodyPr vert="horz" wrap="square" lIns="45720" tIns="22860" rIns="45720" bIns="22860" numCol="1" anchor="t" anchorCtr="0" compatLnSpc="1">
              <a:prstTxWarp prst="textNoShape">
                <a:avLst/>
              </a:prstTxWarp>
            </a:bodyPr>
            <a:lstStyle/>
            <a:p>
              <a:endParaRPr lang="en-US" sz="3333"/>
            </a:p>
          </p:txBody>
        </p:sp>
      </p:grp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ABEE049-4EDC-72E7-33F0-97CB98B0258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4200" y="6416842"/>
            <a:ext cx="10490976" cy="292212"/>
          </a:xfrm>
        </p:spPr>
        <p:txBody>
          <a:bodyPr/>
          <a:lstStyle>
            <a:lvl1pPr marL="0" indent="0">
              <a:buNone/>
              <a:defRPr sz="1067"/>
            </a:lvl1pPr>
          </a:lstStyle>
          <a:p>
            <a:pPr lvl="0"/>
            <a:endParaRPr lang="en-US"/>
          </a:p>
        </p:txBody>
      </p:sp>
      <p:sp>
        <p:nvSpPr>
          <p:cNvPr id="11" name="Slide Number Placeholder 11">
            <a:extLst>
              <a:ext uri="{FF2B5EF4-FFF2-40B4-BE49-F238E27FC236}">
                <a16:creationId xmlns:a16="http://schemas.microsoft.com/office/drawing/2014/main" id="{EE5CAFF7-7E21-9C78-9070-5FCF133DCD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521439" y="6400799"/>
            <a:ext cx="536448" cy="365760"/>
          </a:xfrm>
          <a:prstGeom prst="rect">
            <a:avLst/>
          </a:prstGeom>
        </p:spPr>
        <p:txBody>
          <a:bodyPr/>
          <a:lstStyle>
            <a:lvl1pPr algn="r">
              <a:defRPr sz="1333">
                <a:solidFill>
                  <a:srgbClr val="0057B7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E1A0740-F252-4427-A288-A0F9AF0CD4D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83404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L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245EF5B8-1F19-024C-8319-7CA352C8ED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5897B961-385F-9449-962C-D36861EEA01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375478" y="2136500"/>
            <a:ext cx="5441044" cy="486571"/>
          </a:xfrm>
          <a:effectLst/>
        </p:spPr>
        <p:txBody>
          <a:bodyPr anchor="ctr">
            <a:normAutofit/>
          </a:bodyPr>
          <a:lstStyle>
            <a:lvl1pPr algn="ctr">
              <a:defRPr sz="44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31DDABA-A541-5146-B0D8-608BF0639F5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133850" y="2585207"/>
            <a:ext cx="3924300" cy="495300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528EC04B-3C32-4742-9513-FBBEF03FA17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949700" y="3535315"/>
            <a:ext cx="4292600" cy="590321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cap="none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e of Meeting | Presenter Name(s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9979E6-A41A-144A-ABE6-D37BDC279573}"/>
              </a:ext>
            </a:extLst>
          </p:cNvPr>
          <p:cNvSpPr txBox="1"/>
          <p:nvPr userDrawn="1"/>
        </p:nvSpPr>
        <p:spPr>
          <a:xfrm>
            <a:off x="281126" y="5861822"/>
            <a:ext cx="5814874" cy="489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1">
                <a:solidFill>
                  <a:schemeClr val="bg1"/>
                </a:solidFill>
              </a:rPr>
              <a:t>Centers for Disease Control and Prevention</a:t>
            </a:r>
          </a:p>
          <a:p>
            <a:pPr lvl="0">
              <a:lnSpc>
                <a:spcPct val="150000"/>
              </a:lnSpc>
            </a:pPr>
            <a:r>
              <a:rPr lang="en-US" sz="900" b="0">
                <a:solidFill>
                  <a:schemeClr val="bg1"/>
                </a:solidFill>
              </a:rPr>
              <a:t>National Center for Chronic Disease Prevention and Health Promotion</a:t>
            </a:r>
          </a:p>
        </p:txBody>
      </p:sp>
      <p:sp>
        <p:nvSpPr>
          <p:cNvPr id="28" name="Division Name">
            <a:extLst>
              <a:ext uri="{FF2B5EF4-FFF2-40B4-BE49-F238E27FC236}">
                <a16:creationId xmlns:a16="http://schemas.microsoft.com/office/drawing/2014/main" id="{1C05C024-2448-084E-B53D-9CCD3F04AFA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1126" y="6355716"/>
            <a:ext cx="5154215" cy="2968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  <a:lvl2pPr marL="324000" indent="0">
              <a:buNone/>
              <a:defRPr/>
            </a:lvl2pPr>
            <a:lvl3pPr marL="630000" indent="0">
              <a:buNone/>
              <a:defRPr/>
            </a:lvl3pPr>
            <a:lvl4pPr marL="1008000" indent="0">
              <a:buNone/>
              <a:defRPr/>
            </a:lvl4pPr>
            <a:lvl5pPr marL="1368000" indent="0">
              <a:buNone/>
              <a:defRPr/>
            </a:lvl5pPr>
          </a:lstStyle>
          <a:p>
            <a:pPr lvl="0"/>
            <a:r>
              <a:rPr lang="en-US"/>
              <a:t>Click to enter your Division Name her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0EC4993-7A2E-F54A-A816-C8D1D0A8F3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107047"/>
            <a:ext cx="12192000" cy="1750954"/>
          </a:xfrm>
          <a:prstGeom prst="rect">
            <a:avLst/>
          </a:prstGeom>
          <a:gradFill>
            <a:gsLst>
              <a:gs pos="0">
                <a:srgbClr val="31B1BA"/>
              </a:gs>
              <a:gs pos="24000">
                <a:srgbClr val="218092"/>
              </a:gs>
              <a:gs pos="99000">
                <a:srgbClr val="13556F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0FA0AD-C01E-5B47-ACCE-F4A235E08A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4988925"/>
            <a:ext cx="12192000" cy="236243"/>
          </a:xfrm>
          <a:prstGeom prst="rect">
            <a:avLst/>
          </a:prstGeom>
          <a:solidFill>
            <a:schemeClr val="bg1">
              <a:alpha val="3602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FE26990E-92CC-084A-93B4-F8192307C1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4684" y="3380127"/>
            <a:ext cx="902633" cy="70795"/>
          </a:xfrm>
          <a:prstGeom prst="rect">
            <a:avLst/>
          </a:prstGeom>
        </p:spPr>
      </p:pic>
      <p:pic>
        <p:nvPicPr>
          <p:cNvPr id="32" name="Picture 31" descr="logo: USDHHS (United States Department of Health and Human Services), CDC (Centers for Disease Control and Prevention)">
            <a:extLst>
              <a:ext uri="{FF2B5EF4-FFF2-40B4-BE49-F238E27FC236}">
                <a16:creationId xmlns:a16="http://schemas.microsoft.com/office/drawing/2014/main" id="{DD9FC9F1-872A-A844-BA3F-B9F5F423F7B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874" y="5737970"/>
            <a:ext cx="1524001" cy="873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547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20EC4993-7A2E-F54A-A816-C8D1D0A8F3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107047"/>
            <a:ext cx="12192000" cy="1750954"/>
          </a:xfrm>
          <a:prstGeom prst="rect">
            <a:avLst/>
          </a:prstGeom>
          <a:gradFill>
            <a:gsLst>
              <a:gs pos="0">
                <a:srgbClr val="31B1BA"/>
              </a:gs>
              <a:gs pos="24000">
                <a:srgbClr val="218092"/>
              </a:gs>
              <a:gs pos="99000">
                <a:srgbClr val="13556F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0FA0AD-C01E-5B47-ACCE-F4A235E08A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4988925"/>
            <a:ext cx="12192000" cy="236243"/>
          </a:xfrm>
          <a:prstGeom prst="rect">
            <a:avLst/>
          </a:prstGeom>
          <a:solidFill>
            <a:schemeClr val="bg1">
              <a:alpha val="3602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FE26990E-92CC-084A-93B4-F8192307C1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4684" y="3380127"/>
            <a:ext cx="902633" cy="70795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5897B961-385F-9449-962C-D36861EEA01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375478" y="2136500"/>
            <a:ext cx="5441044" cy="486571"/>
          </a:xfrm>
          <a:effectLst/>
        </p:spPr>
        <p:txBody>
          <a:bodyPr anchor="ctr">
            <a:normAutofit/>
          </a:bodyPr>
          <a:lstStyle>
            <a:lvl1pPr algn="ctr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31DDABA-A541-5146-B0D8-608BF0639F58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4133850" y="2585207"/>
            <a:ext cx="3924300" cy="495300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528EC04B-3C32-4742-9513-FBBEF03FA17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949700" y="3535315"/>
            <a:ext cx="4292600" cy="590321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cap="none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e of Meeting | Presenter Name(s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9979E6-A41A-144A-ABE6-D37BDC279573}"/>
              </a:ext>
            </a:extLst>
          </p:cNvPr>
          <p:cNvSpPr txBox="1"/>
          <p:nvPr userDrawn="1"/>
        </p:nvSpPr>
        <p:spPr>
          <a:xfrm>
            <a:off x="281126" y="5861822"/>
            <a:ext cx="5814874" cy="489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1">
                <a:solidFill>
                  <a:schemeClr val="bg1"/>
                </a:solidFill>
              </a:rPr>
              <a:t>Centers for Disease Control and Prevention</a:t>
            </a:r>
          </a:p>
          <a:p>
            <a:pPr lvl="0">
              <a:lnSpc>
                <a:spcPct val="150000"/>
              </a:lnSpc>
            </a:pPr>
            <a:r>
              <a:rPr lang="en-US" sz="900" b="0">
                <a:solidFill>
                  <a:schemeClr val="bg1"/>
                </a:solidFill>
              </a:rPr>
              <a:t>National Center for Chronic Disease Prevention and Health Promotion</a:t>
            </a:r>
          </a:p>
        </p:txBody>
      </p:sp>
      <p:sp>
        <p:nvSpPr>
          <p:cNvPr id="28" name="Division Name">
            <a:extLst>
              <a:ext uri="{FF2B5EF4-FFF2-40B4-BE49-F238E27FC236}">
                <a16:creationId xmlns:a16="http://schemas.microsoft.com/office/drawing/2014/main" id="{1C05C024-2448-084E-B53D-9CCD3F04AFAC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1126" y="6355716"/>
            <a:ext cx="5154215" cy="2968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  <a:lvl2pPr marL="324000" indent="0">
              <a:buNone/>
              <a:defRPr/>
            </a:lvl2pPr>
            <a:lvl3pPr marL="630000" indent="0">
              <a:buNone/>
              <a:defRPr/>
            </a:lvl3pPr>
            <a:lvl4pPr marL="1008000" indent="0">
              <a:buNone/>
              <a:defRPr/>
            </a:lvl4pPr>
            <a:lvl5pPr marL="1368000" indent="0">
              <a:buNone/>
              <a:defRPr/>
            </a:lvl5pPr>
          </a:lstStyle>
          <a:p>
            <a:pPr lvl="0"/>
            <a:r>
              <a:rPr lang="en-US"/>
              <a:t>Click to enter your Division Name here</a:t>
            </a:r>
          </a:p>
        </p:txBody>
      </p:sp>
      <p:pic>
        <p:nvPicPr>
          <p:cNvPr id="32" name="Picture 31" descr="logo: USDHHS (United States Department of Health and Human Services), CDC (Centers for Disease Control and Prevention)">
            <a:extLst>
              <a:ext uri="{FF2B5EF4-FFF2-40B4-BE49-F238E27FC236}">
                <a16:creationId xmlns:a16="http://schemas.microsoft.com/office/drawing/2014/main" id="{DD9FC9F1-872A-A844-BA3F-B9F5F423F7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874" y="5737970"/>
            <a:ext cx="1524001" cy="873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7980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| Photograph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F48FAF1-D016-8244-B6B9-A68D48532E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634727"/>
            <a:ext cx="12192000" cy="12232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Placeholder 6">
            <a:extLst>
              <a:ext uri="{FF2B5EF4-FFF2-40B4-BE49-F238E27FC236}">
                <a16:creationId xmlns:a16="http://schemas.microsoft.com/office/drawing/2014/main" id="{BF9B6DCF-B02F-C847-B214-F3548F2C10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8699" y="-1272"/>
            <a:ext cx="3053130" cy="3859968"/>
          </a:xfrm>
          <a:prstGeom prst="rect">
            <a:avLst/>
          </a:prstGeom>
        </p:spPr>
      </p:pic>
      <p:pic>
        <p:nvPicPr>
          <p:cNvPr id="14" name="Picture Placeholder 6">
            <a:extLst>
              <a:ext uri="{FF2B5EF4-FFF2-40B4-BE49-F238E27FC236}">
                <a16:creationId xmlns:a16="http://schemas.microsoft.com/office/drawing/2014/main" id="{586D702C-5FEE-1D49-BC85-65BE823AC5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38870" y="0"/>
            <a:ext cx="3053130" cy="3742774"/>
          </a:xfrm>
          <a:prstGeom prst="rect">
            <a:avLst/>
          </a:prstGeom>
        </p:spPr>
      </p:pic>
      <p:pic>
        <p:nvPicPr>
          <p:cNvPr id="20" name="Picture Placeholder 6">
            <a:extLst>
              <a:ext uri="{FF2B5EF4-FFF2-40B4-BE49-F238E27FC236}">
                <a16:creationId xmlns:a16="http://schemas.microsoft.com/office/drawing/2014/main" id="{B882EF8D-49EE-B34C-BE14-B912AF49A9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"/>
            <a:ext cx="3083242" cy="3742772"/>
          </a:xfrm>
          <a:prstGeom prst="rect">
            <a:avLst/>
          </a:prstGeom>
        </p:spPr>
      </p:pic>
      <p:pic>
        <p:nvPicPr>
          <p:cNvPr id="12" name="Picture Placeholder 6">
            <a:extLst>
              <a:ext uri="{FF2B5EF4-FFF2-40B4-BE49-F238E27FC236}">
                <a16:creationId xmlns:a16="http://schemas.microsoft.com/office/drawing/2014/main" id="{3140EFED-5F88-1A47-9AE6-07032D85E6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74144" y="1"/>
            <a:ext cx="3051544" cy="38599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EF7F3A6F-0DB6-3E4E-9354-5A3C02FB63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742774"/>
            <a:ext cx="12192000" cy="1891953"/>
          </a:xfrm>
          <a:prstGeom prst="rect">
            <a:avLst/>
          </a:prstGeom>
          <a:gradFill>
            <a:gsLst>
              <a:gs pos="0">
                <a:srgbClr val="31B1BA"/>
              </a:gs>
              <a:gs pos="24000">
                <a:srgbClr val="218092"/>
              </a:gs>
              <a:gs pos="99000">
                <a:srgbClr val="13556F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FE26990E-92CC-084A-93B4-F8192307C1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36" y="5093753"/>
            <a:ext cx="902633" cy="70795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D30A13C-785C-D143-92EA-3E6776D42F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623725"/>
            <a:ext cx="12192000" cy="236243"/>
          </a:xfrm>
          <a:prstGeom prst="rect">
            <a:avLst/>
          </a:prstGeom>
          <a:solidFill>
            <a:schemeClr val="bg1">
              <a:alpha val="3602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30DDE451-2CF3-0949-B3F9-0E97F313B6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4084" y="4049701"/>
            <a:ext cx="5441044" cy="486571"/>
          </a:xfrm>
          <a:effectLst/>
        </p:spPr>
        <p:txBody>
          <a:bodyPr anchor="ctr">
            <a:normAutofit/>
          </a:bodyPr>
          <a:lstStyle>
            <a:lvl1pPr algn="l"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9AA9A01-1A33-8B4A-878D-1737A853FA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4084" y="4498408"/>
            <a:ext cx="3924300" cy="495300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528EC04B-3C32-4742-9513-FBBEF03FA17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6742" y="5212524"/>
            <a:ext cx="4292600" cy="389547"/>
          </a:xfrm>
        </p:spPr>
        <p:txBody>
          <a:bodyPr anchor="t">
            <a:normAutofit/>
          </a:bodyPr>
          <a:lstStyle>
            <a:lvl1pPr marL="0" indent="0" algn="l">
              <a:buNone/>
              <a:defRPr sz="1400" cap="none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e of Meeting | Presenter Name(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9E864F8-4763-4847-88BA-A0BBD72EA6CA}"/>
              </a:ext>
            </a:extLst>
          </p:cNvPr>
          <p:cNvSpPr txBox="1"/>
          <p:nvPr userDrawn="1"/>
        </p:nvSpPr>
        <p:spPr>
          <a:xfrm>
            <a:off x="281126" y="5861822"/>
            <a:ext cx="5814874" cy="489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1">
                <a:solidFill>
                  <a:schemeClr val="bg1"/>
                </a:solidFill>
              </a:rPr>
              <a:t>Centers for Disease Control and Prevention</a:t>
            </a:r>
          </a:p>
          <a:p>
            <a:pPr lvl="0">
              <a:lnSpc>
                <a:spcPct val="150000"/>
              </a:lnSpc>
            </a:pPr>
            <a:r>
              <a:rPr lang="en-US" sz="900" b="0">
                <a:solidFill>
                  <a:schemeClr val="bg1"/>
                </a:solidFill>
              </a:rPr>
              <a:t>National Center for Chronic Disease Prevention and Health Promotion</a:t>
            </a:r>
          </a:p>
        </p:txBody>
      </p:sp>
      <p:sp>
        <p:nvSpPr>
          <p:cNvPr id="15" name="Division Name">
            <a:extLst>
              <a:ext uri="{FF2B5EF4-FFF2-40B4-BE49-F238E27FC236}">
                <a16:creationId xmlns:a16="http://schemas.microsoft.com/office/drawing/2014/main" id="{0D6F8120-0546-4F43-AFAA-11D464A502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126" y="6412864"/>
            <a:ext cx="5154215" cy="2968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  <a:lvl2pPr marL="324000" indent="0">
              <a:buNone/>
              <a:defRPr/>
            </a:lvl2pPr>
            <a:lvl3pPr marL="630000" indent="0">
              <a:buNone/>
              <a:defRPr/>
            </a:lvl3pPr>
            <a:lvl4pPr marL="1008000" indent="0">
              <a:buNone/>
              <a:defRPr/>
            </a:lvl4pPr>
            <a:lvl5pPr marL="1368000" indent="0">
              <a:buNone/>
              <a:defRPr/>
            </a:lvl5pPr>
          </a:lstStyle>
          <a:p>
            <a:pPr lvl="0"/>
            <a:r>
              <a:rPr lang="en-US"/>
              <a:t>Click to enter your Division Name here</a:t>
            </a:r>
          </a:p>
        </p:txBody>
      </p:sp>
      <p:pic>
        <p:nvPicPr>
          <p:cNvPr id="32" name="Picture 31" descr="logo: USDHHS (United States Department of Health and Human Services), CDC (Centers for Disease Control and Prevention)">
            <a:extLst>
              <a:ext uri="{FF2B5EF4-FFF2-40B4-BE49-F238E27FC236}">
                <a16:creationId xmlns:a16="http://schemas.microsoft.com/office/drawing/2014/main" id="{DD9FC9F1-872A-A844-BA3F-B9F5F423F7B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874" y="5795118"/>
            <a:ext cx="1524001" cy="873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8633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|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6E275F2-8210-4840-B12C-B36DA0B31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45328" y="705124"/>
            <a:ext cx="8165479" cy="1189554"/>
          </a:xfrm>
        </p:spPr>
        <p:txBody>
          <a:bodyPr/>
          <a:lstStyle/>
          <a:p>
            <a:r>
              <a:rPr lang="en-US"/>
              <a:t>Table of Content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17E6E2B-5F88-584B-8B63-04704EA289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45327" y="2095122"/>
            <a:ext cx="8165479" cy="3450093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Arial"/>
              <a:buNone/>
              <a:tabLst/>
              <a:defRPr>
                <a:solidFill>
                  <a:schemeClr val="tx1"/>
                </a:solidFill>
              </a:defRPr>
            </a:lvl1pPr>
            <a:lvl2pPr marL="324000" indent="0">
              <a:buNone/>
              <a:defRPr>
                <a:solidFill>
                  <a:schemeClr val="tx1"/>
                </a:solidFill>
              </a:defRPr>
            </a:lvl2pPr>
            <a:lvl3pPr marL="630000" indent="0">
              <a:buNone/>
              <a:defRPr>
                <a:solidFill>
                  <a:schemeClr val="tx1"/>
                </a:solidFill>
              </a:defRPr>
            </a:lvl3pPr>
            <a:lvl4pPr marL="1008000" indent="0">
              <a:buNone/>
              <a:defRPr>
                <a:solidFill>
                  <a:schemeClr val="tx1"/>
                </a:solidFill>
              </a:defRPr>
            </a:lvl4pPr>
            <a:lvl5pPr marL="13680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Section Title 1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Arial"/>
              <a:buNone/>
              <a:tabLst/>
              <a:defRPr/>
            </a:pPr>
            <a:r>
              <a:rPr lang="en-US"/>
              <a:t>Section Title 2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Arial"/>
              <a:buNone/>
              <a:tabLst/>
              <a:defRPr/>
            </a:pPr>
            <a:r>
              <a:rPr lang="en-US"/>
              <a:t>Section Title 3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Arial"/>
              <a:buNone/>
              <a:tabLst/>
              <a:defRPr/>
            </a:pPr>
            <a:r>
              <a:rPr lang="en-US"/>
              <a:t>Section Title 4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Arial"/>
              <a:buNone/>
              <a:tabLst/>
              <a:defRPr/>
            </a:pPr>
            <a:r>
              <a:rPr lang="en-US"/>
              <a:t>Section Title 5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Arial"/>
              <a:buNone/>
              <a:tabLst/>
              <a:defRPr/>
            </a:pPr>
            <a:r>
              <a:rPr lang="en-US"/>
              <a:t>Section Title 6</a:t>
            </a:r>
          </a:p>
          <a:p>
            <a:pPr lv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F78B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2F78B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2F78B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45326" y="6019046"/>
            <a:ext cx="4053075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all" spc="0" normalizeH="0" baseline="0" noProof="0">
              <a:ln>
                <a:noFill/>
              </a:ln>
              <a:solidFill>
                <a:srgbClr val="2F78B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47F67F-9B94-2641-9A40-55B101D107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>
            <a:off x="-1873578" y="1873577"/>
            <a:ext cx="6858000" cy="3110845"/>
          </a:xfrm>
          <a:prstGeom prst="rect">
            <a:avLst/>
          </a:prstGeom>
          <a:gradFill>
            <a:gsLst>
              <a:gs pos="0">
                <a:srgbClr val="31B1BA"/>
              </a:gs>
              <a:gs pos="24000">
                <a:srgbClr val="218092"/>
              </a:gs>
              <a:gs pos="99000">
                <a:srgbClr val="13556F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23FCEE8-3773-E546-9E7D-954BE62FBA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>
            <a:off x="-318155" y="3310880"/>
            <a:ext cx="6857999" cy="236243"/>
          </a:xfrm>
          <a:prstGeom prst="rect">
            <a:avLst/>
          </a:prstGeom>
          <a:solidFill>
            <a:schemeClr val="tx1">
              <a:alpha val="3602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8638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|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EB276D34-F03E-7441-BC58-5BDA718A4C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888" y="-29962"/>
            <a:ext cx="12175112" cy="6887963"/>
          </a:xfrm>
          <a:prstGeom prst="rect">
            <a:avLst/>
          </a:prstGeom>
        </p:spPr>
      </p:pic>
      <p:sp>
        <p:nvSpPr>
          <p:cNvPr id="10" name="Title 6">
            <a:extLst>
              <a:ext uri="{FF2B5EF4-FFF2-40B4-BE49-F238E27FC236}">
                <a16:creationId xmlns:a16="http://schemas.microsoft.com/office/drawing/2014/main" id="{0B3D011E-A37B-F240-BF8F-AB462A6819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45328" y="705124"/>
            <a:ext cx="8165479" cy="1189554"/>
          </a:xfrm>
        </p:spPr>
        <p:txBody>
          <a:bodyPr/>
          <a:lstStyle/>
          <a:p>
            <a:r>
              <a:rPr lang="en-US"/>
              <a:t>Table of Content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B2266888-8F4F-8D42-AFA4-4B5164DE8E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45327" y="2095122"/>
            <a:ext cx="8165479" cy="3450093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Arial"/>
              <a:buNone/>
              <a:tabLst/>
              <a:defRPr>
                <a:solidFill>
                  <a:schemeClr val="tx1"/>
                </a:solidFill>
              </a:defRPr>
            </a:lvl1pPr>
            <a:lvl2pPr marL="324000" indent="0">
              <a:buNone/>
              <a:defRPr>
                <a:solidFill>
                  <a:schemeClr val="tx1"/>
                </a:solidFill>
              </a:defRPr>
            </a:lvl2pPr>
            <a:lvl3pPr marL="630000" indent="0">
              <a:buNone/>
              <a:defRPr>
                <a:solidFill>
                  <a:schemeClr val="tx1"/>
                </a:solidFill>
              </a:defRPr>
            </a:lvl3pPr>
            <a:lvl4pPr marL="1008000" indent="0">
              <a:buNone/>
              <a:defRPr>
                <a:solidFill>
                  <a:schemeClr val="tx1"/>
                </a:solidFill>
              </a:defRPr>
            </a:lvl4pPr>
            <a:lvl5pPr marL="1368000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Section Title 1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Arial"/>
              <a:buNone/>
              <a:tabLst/>
              <a:defRPr/>
            </a:pPr>
            <a:r>
              <a:rPr lang="en-US"/>
              <a:t>Section Title 2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Arial"/>
              <a:buNone/>
              <a:tabLst/>
              <a:defRPr/>
            </a:pPr>
            <a:r>
              <a:rPr lang="en-US"/>
              <a:t>Section Title 3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Arial"/>
              <a:buNone/>
              <a:tabLst/>
              <a:defRPr/>
            </a:pPr>
            <a:r>
              <a:rPr lang="en-US"/>
              <a:t>Section Title 4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Arial"/>
              <a:buNone/>
              <a:tabLst/>
              <a:defRPr/>
            </a:pPr>
            <a:r>
              <a:rPr lang="en-US"/>
              <a:t>Section Title 5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Arial"/>
              <a:buNone/>
              <a:tabLst/>
              <a:defRPr/>
            </a:pPr>
            <a:r>
              <a:rPr lang="en-US"/>
              <a:t>Section Title 6</a:t>
            </a:r>
          </a:p>
          <a:p>
            <a:pPr lv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F78B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2F78B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2F78B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445326" y="6019046"/>
            <a:ext cx="4053075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all" spc="0" normalizeH="0" baseline="0" noProof="0">
              <a:ln>
                <a:noFill/>
              </a:ln>
              <a:solidFill>
                <a:srgbClr val="2F78B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F47F67F-9B94-2641-9A40-55B101D107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>
            <a:off x="-1873578" y="1873577"/>
            <a:ext cx="6858000" cy="3110845"/>
          </a:xfrm>
          <a:prstGeom prst="rect">
            <a:avLst/>
          </a:prstGeom>
          <a:gradFill>
            <a:gsLst>
              <a:gs pos="0">
                <a:srgbClr val="31B1BA"/>
              </a:gs>
              <a:gs pos="24000">
                <a:srgbClr val="218092"/>
              </a:gs>
              <a:gs pos="99000">
                <a:srgbClr val="13556F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23FCEE8-3773-E546-9E7D-954BE62FBA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 rot="5400000">
            <a:off x="-318155" y="3310880"/>
            <a:ext cx="6857999" cy="236243"/>
          </a:xfrm>
          <a:prstGeom prst="rect">
            <a:avLst/>
          </a:prstGeom>
          <a:solidFill>
            <a:schemeClr val="tx1">
              <a:alpha val="3602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E322462-E9BD-1046-A1FE-47F97D479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9367" y="6554869"/>
            <a:ext cx="902633" cy="70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28421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Slide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AB9FCA-3234-6B42-A497-A784B5144A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46" y="2624137"/>
            <a:ext cx="3932237" cy="1600200"/>
          </a:xfrm>
        </p:spPr>
        <p:txBody>
          <a:bodyPr anchor="b">
            <a:normAutofit/>
          </a:bodyPr>
          <a:lstStyle>
            <a:lvl1pPr>
              <a:defRPr sz="2800">
                <a:solidFill>
                  <a:srgbClr val="2C70B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8AA0CD-1B42-7147-A550-633821F559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2928" y="1404257"/>
            <a:ext cx="6052460" cy="46482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8448857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|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E67E3BF6-3CC8-0047-BBA2-FF8805D17D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888" y="-29962"/>
            <a:ext cx="12175112" cy="6887963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182B34E-3313-2C43-86BF-3691D3D4D5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1983704"/>
            <a:ext cx="11029615" cy="3678303"/>
          </a:xfrm>
        </p:spPr>
        <p:txBody>
          <a:bodyPr/>
          <a:lstStyle>
            <a:lvl1pPr>
              <a:buClr>
                <a:schemeClr val="accent2"/>
              </a:buClr>
              <a:defRPr/>
            </a:lvl1pPr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866B10-3FCA-4840-AD3C-F18AA51F3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0E3CB86-093F-1946-BD31-11D22BD0D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7E033C3-FCDC-8747-BE08-BEF45DA6F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9EA51E6-B005-8848-A06B-8944C8E9D5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9367" y="6554869"/>
            <a:ext cx="902633" cy="70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6337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|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4BB03F69-996C-7949-A380-220A33315C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B8C6E31-1339-4340-8E59-29B23D94A2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1192" y="1983704"/>
            <a:ext cx="11029615" cy="3678303"/>
          </a:xfrm>
        </p:spPr>
        <p:txBody>
          <a:bodyPr/>
          <a:lstStyle>
            <a:lvl1pPr>
              <a:buClr>
                <a:srgbClr val="569FD3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569FD3"/>
              </a:buCl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866B10-3FCA-4840-AD3C-F18AA51F3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0E3CB86-093F-1946-BD31-11D22BD0D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7E033C3-FCDC-8747-BE08-BEF45DA6F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70655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to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A6A41B2D-63A5-9E42-A734-7100CC60EF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34873"/>
            <a:ext cx="12192000" cy="923128"/>
          </a:xfrm>
          <a:prstGeom prst="rect">
            <a:avLst/>
          </a:prstGeom>
          <a:gradFill>
            <a:gsLst>
              <a:gs pos="0">
                <a:srgbClr val="218092"/>
              </a:gs>
              <a:gs pos="99000">
                <a:srgbClr val="13556F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7EEE80-8067-D748-858F-5D3F727CE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91D177-207F-9C47-AA89-4101F95F6D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1025" y="1973263"/>
            <a:ext cx="6917210" cy="3883025"/>
          </a:xfr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 descr="Populate this object with alternative text.">
            <a:extLst>
              <a:ext uri="{FF2B5EF4-FFF2-40B4-BE49-F238E27FC236}">
                <a16:creationId xmlns:a16="http://schemas.microsoft.com/office/drawing/2014/main" id="{E09B5FA4-80F7-CF48-8417-05759757BA5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05951" y="1973263"/>
            <a:ext cx="4005024" cy="38830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F17470-30B7-8B4F-B0F9-922A81AA58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40000"/>
                    <a:lumOff val="60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FC1D3F-16FE-BB4A-942F-7AC53B0B314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784224-0BA4-0D46-9A7F-3B46DB51B95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B1A070BD-3871-C247-B2EB-AAD439AFE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9367" y="6554869"/>
            <a:ext cx="902633" cy="70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003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to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6">
            <a:extLst>
              <a:ext uri="{FF2B5EF4-FFF2-40B4-BE49-F238E27FC236}">
                <a16:creationId xmlns:a16="http://schemas.microsoft.com/office/drawing/2014/main" id="{CA6BA279-F4F1-564E-A7D6-05C7098343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888" y="-29962"/>
            <a:ext cx="12175112" cy="688796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27EEE80-8067-D748-858F-5D3F727CE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91D177-207F-9C47-AA89-4101F95F6D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1025" y="1973263"/>
            <a:ext cx="6917210" cy="3883025"/>
          </a:xfr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 descr="Populate this object with alternative text.">
            <a:extLst>
              <a:ext uri="{FF2B5EF4-FFF2-40B4-BE49-F238E27FC236}">
                <a16:creationId xmlns:a16="http://schemas.microsoft.com/office/drawing/2014/main" id="{E09B5FA4-80F7-CF48-8417-05759757BA5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05951" y="1973263"/>
            <a:ext cx="4005024" cy="388302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6A41B2D-63A5-9E42-A734-7100CC60EF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934873"/>
            <a:ext cx="12192000" cy="923128"/>
          </a:xfrm>
          <a:prstGeom prst="rect">
            <a:avLst/>
          </a:prstGeom>
          <a:gradFill>
            <a:gsLst>
              <a:gs pos="0">
                <a:srgbClr val="218092"/>
              </a:gs>
              <a:gs pos="99000">
                <a:srgbClr val="13556F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F17470-30B7-8B4F-B0F9-922A81AA58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40000"/>
                    <a:lumOff val="60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FC1D3F-16FE-BB4A-942F-7AC53B0B314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784224-0BA4-0D46-9A7F-3B46DB51B95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40000"/>
                    <a:lumOff val="60000"/>
                  </a:schemeClr>
                </a:solidFill>
              </a:defRPr>
            </a:lvl1pPr>
          </a:lstStyle>
          <a:p>
            <a:endParaRPr lang="en-US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B1A070BD-3871-C247-B2EB-AAD439AFE2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9367" y="6554869"/>
            <a:ext cx="902633" cy="70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46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to Dark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DFB4EA8-E9FD-5146-A146-E7141710A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375557"/>
            <a:ext cx="6448258" cy="15191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CE9A4F8-3B04-2E43-816F-2CA6C4D15C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1025" y="2016578"/>
            <a:ext cx="6448258" cy="373175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 descr="Populate this object with alternative text.">
            <a:extLst>
              <a:ext uri="{FF2B5EF4-FFF2-40B4-BE49-F238E27FC236}">
                <a16:creationId xmlns:a16="http://schemas.microsoft.com/office/drawing/2014/main" id="{2ACE2404-71A3-414D-AF59-8DF131917D3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50113" y="0"/>
            <a:ext cx="4941887" cy="68580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7077223-3B81-114A-A648-1FB3DAC8D2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9367" y="6554869"/>
            <a:ext cx="902633" cy="70795"/>
          </a:xfrm>
          <a:prstGeom prst="rect">
            <a:avLst/>
          </a:prstGeom>
        </p:spPr>
      </p:pic>
      <p:sp>
        <p:nvSpPr>
          <p:cNvPr id="27" name="Slide Number Placeholder 9">
            <a:extLst>
              <a:ext uri="{FF2B5EF4-FFF2-40B4-BE49-F238E27FC236}">
                <a16:creationId xmlns:a16="http://schemas.microsoft.com/office/drawing/2014/main" id="{EC042F99-9C8A-1D4E-8EF7-B13D5DCBD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8300" y="6023372"/>
            <a:ext cx="105251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23" name="Date Placeholder 6">
            <a:extLst>
              <a:ext uri="{FF2B5EF4-FFF2-40B4-BE49-F238E27FC236}">
                <a16:creationId xmlns:a16="http://schemas.microsoft.com/office/drawing/2014/main" id="{4BB8420F-9C94-DC4D-B650-4A1C16C0E5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05951" y="6024449"/>
            <a:ext cx="2844799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6" name="Footer Placeholder 8">
            <a:extLst>
              <a:ext uri="{FF2B5EF4-FFF2-40B4-BE49-F238E27FC236}">
                <a16:creationId xmlns:a16="http://schemas.microsoft.com/office/drawing/2014/main" id="{C96D7685-2B68-E540-AB92-8EFC5FA800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1192" y="6020123"/>
            <a:ext cx="691721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5BBEC84-13D5-DA48-AAD9-4ABF462FAB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9366" y="6554869"/>
            <a:ext cx="902633" cy="70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0535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to 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Placeholder 6">
            <a:extLst>
              <a:ext uri="{FF2B5EF4-FFF2-40B4-BE49-F238E27FC236}">
                <a16:creationId xmlns:a16="http://schemas.microsoft.com/office/drawing/2014/main" id="{96EF7A6D-717B-4D4B-BE72-54D1E8B0F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4982"/>
            <a:ext cx="12175112" cy="688796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7077223-3B81-114A-A648-1FB3DAC8D2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9367" y="6554869"/>
            <a:ext cx="902633" cy="70795"/>
          </a:xfrm>
          <a:prstGeom prst="rect">
            <a:avLst/>
          </a:prstGeom>
        </p:spPr>
      </p:pic>
      <p:sp>
        <p:nvSpPr>
          <p:cNvPr id="18" name="Title 3">
            <a:extLst>
              <a:ext uri="{FF2B5EF4-FFF2-40B4-BE49-F238E27FC236}">
                <a16:creationId xmlns:a16="http://schemas.microsoft.com/office/drawing/2014/main" id="{B0F35876-14D4-1748-9864-02A17F7C70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375557"/>
            <a:ext cx="6448258" cy="15191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1303FC8-4E28-3646-9140-FABAB1D782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1025" y="2016578"/>
            <a:ext cx="6448258" cy="373175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Picture Placeholder 8" descr="Populate this object with alternative text.">
            <a:extLst>
              <a:ext uri="{FF2B5EF4-FFF2-40B4-BE49-F238E27FC236}">
                <a16:creationId xmlns:a16="http://schemas.microsoft.com/office/drawing/2014/main" id="{1472D0A2-D7ED-B84F-AA4B-3185DA90A34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50113" y="0"/>
            <a:ext cx="4941887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7" name="Slide Number Placeholder 9">
            <a:extLst>
              <a:ext uri="{FF2B5EF4-FFF2-40B4-BE49-F238E27FC236}">
                <a16:creationId xmlns:a16="http://schemas.microsoft.com/office/drawing/2014/main" id="{EC042F99-9C8A-1D4E-8EF7-B13D5DCBD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8300" y="6023372"/>
            <a:ext cx="105251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23" name="Date Placeholder 6">
            <a:extLst>
              <a:ext uri="{FF2B5EF4-FFF2-40B4-BE49-F238E27FC236}">
                <a16:creationId xmlns:a16="http://schemas.microsoft.com/office/drawing/2014/main" id="{4BB8420F-9C94-DC4D-B650-4A1C16C0E5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05951" y="6024449"/>
            <a:ext cx="284479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6" name="Footer Placeholder 8">
            <a:extLst>
              <a:ext uri="{FF2B5EF4-FFF2-40B4-BE49-F238E27FC236}">
                <a16:creationId xmlns:a16="http://schemas.microsoft.com/office/drawing/2014/main" id="{C96D7685-2B68-E540-AB92-8EFC5FA800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1192" y="6020123"/>
            <a:ext cx="691721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0422230-45CD-3B4C-B265-C64050D56A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9366" y="6554869"/>
            <a:ext cx="902633" cy="70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19467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to | Dark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3">
            <a:extLst>
              <a:ext uri="{FF2B5EF4-FFF2-40B4-BE49-F238E27FC236}">
                <a16:creationId xmlns:a16="http://schemas.microsoft.com/office/drawing/2014/main" id="{75CC82AD-44BE-C94B-B717-A6556CB4D3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785" y="469503"/>
            <a:ext cx="6776192" cy="15191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AFC7444-E2F6-4846-A1A9-07148082D7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4618" y="2110524"/>
            <a:ext cx="6776192" cy="373175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 descr="Populate this object with alternative text.">
            <a:extLst>
              <a:ext uri="{FF2B5EF4-FFF2-40B4-BE49-F238E27FC236}">
                <a16:creationId xmlns:a16="http://schemas.microsoft.com/office/drawing/2014/main" id="{E09B5FA4-80F7-CF48-8417-05759757BA5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7542"/>
            <a:ext cx="4586050" cy="6865542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F17470-30B7-8B4F-B0F9-922A81AA58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FC1D3F-16FE-BB4A-942F-7AC53B0B314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784224-0BA4-0D46-9A7F-3B46DB51B95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330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hoto | Light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BBDB60DA-E331-604A-B662-F4B4634226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888" y="-29962"/>
            <a:ext cx="12175112" cy="6887963"/>
          </a:xfrm>
          <a:prstGeom prst="rect">
            <a:avLst/>
          </a:pr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C4D51730-58EB-1040-B94D-09BBDA1B0B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4785" y="469503"/>
            <a:ext cx="6776192" cy="15191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6170891-AFB5-1D47-9398-D2F979DFAD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34618" y="2110524"/>
            <a:ext cx="6776192" cy="373175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 descr="Populate this object with alternative text.">
            <a:extLst>
              <a:ext uri="{FF2B5EF4-FFF2-40B4-BE49-F238E27FC236}">
                <a16:creationId xmlns:a16="http://schemas.microsoft.com/office/drawing/2014/main" id="{E09B5FA4-80F7-CF48-8417-05759757BA5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7542"/>
            <a:ext cx="4586050" cy="6865542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F17470-30B7-8B4F-B0F9-922A81AA58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FC1D3F-16FE-BB4A-942F-7AC53B0B314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784224-0BA4-0D46-9A7F-3B46DB51B95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6CD66C1-C676-2340-B689-E319335FB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9367" y="6554869"/>
            <a:ext cx="902633" cy="70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013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Monitor |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702155"/>
            <a:ext cx="3193902" cy="171447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 descr="Populate this object with alternative text."/>
          <p:cNvSpPr>
            <a:spLocks noGrp="1"/>
          </p:cNvSpPr>
          <p:nvPr>
            <p:ph idx="1" hasCustomPrompt="1"/>
          </p:nvPr>
        </p:nvSpPr>
        <p:spPr>
          <a:xfrm>
            <a:off x="581192" y="2727025"/>
            <a:ext cx="3193902" cy="2849554"/>
          </a:xfrm>
        </p:spPr>
        <p:txBody>
          <a:bodyPr/>
          <a:lstStyle>
            <a:lvl1pPr marL="0" indent="0">
              <a:buNone/>
              <a:defRPr/>
            </a:lvl1pPr>
            <a:lvl2pPr marL="324000" indent="0">
              <a:buNone/>
              <a:defRPr/>
            </a:lvl2pPr>
          </a:lstStyle>
          <a:p>
            <a:pPr lvl="0"/>
            <a:r>
              <a:rPr lang="en-US"/>
              <a:t>Edit text (Click icon below if you want to add an object and alt text)</a:t>
            </a:r>
          </a:p>
        </p:txBody>
      </p:sp>
      <p:pic>
        <p:nvPicPr>
          <p:cNvPr id="12" name="Picture 11" descr="Populate this object with alternative text.">
            <a:extLst>
              <a:ext uri="{FF2B5EF4-FFF2-40B4-BE49-F238E27FC236}">
                <a16:creationId xmlns:a16="http://schemas.microsoft.com/office/drawing/2014/main" id="{E23C55B2-DB9A-2F42-BDCB-89B3EB22C29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24844" y="-279993"/>
            <a:ext cx="10648604" cy="7908322"/>
          </a:xfrm>
          <a:prstGeom prst="rect">
            <a:avLst/>
          </a:prstGeo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866B10-3FCA-4840-AD3C-F18AA51F3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0E3CB86-093F-1946-BD31-11D22BD0D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7E033C3-FCDC-8747-BE08-BEF45DA6F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71756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Monitor |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6">
            <a:extLst>
              <a:ext uri="{FF2B5EF4-FFF2-40B4-BE49-F238E27FC236}">
                <a16:creationId xmlns:a16="http://schemas.microsoft.com/office/drawing/2014/main" id="{B1386601-D0AA-6045-84DC-1B262068A2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888" y="-29962"/>
            <a:ext cx="12175112" cy="68879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702155"/>
            <a:ext cx="3193902" cy="171447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81192" y="2727025"/>
            <a:ext cx="3193902" cy="2849554"/>
          </a:xfrm>
        </p:spPr>
        <p:txBody>
          <a:bodyPr/>
          <a:lstStyle>
            <a:lvl1pPr marL="0" indent="0">
              <a:buNone/>
              <a:defRPr/>
            </a:lvl1pPr>
            <a:lvl2pPr marL="324000" indent="0">
              <a:buNone/>
              <a:defRPr/>
            </a:lvl2pPr>
          </a:lstStyle>
          <a:p>
            <a:pPr lvl="0"/>
            <a:r>
              <a:rPr lang="en-US"/>
              <a:t>Edit text (Click icon below if you want to add an object and alt text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23C55B2-DB9A-2F42-BDCB-89B3EB22C29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24844" y="-279993"/>
            <a:ext cx="10648604" cy="7908322"/>
          </a:xfrm>
          <a:prstGeom prst="rect">
            <a:avLst/>
          </a:prstGeom>
        </p:spPr>
      </p:pic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B866B10-3FCA-4840-AD3C-F18AA51F3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0E3CB86-093F-1946-BD31-11D22BD0D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7E033C3-FCDC-8747-BE08-BEF45DA6F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356C567-030D-584C-B89B-CD05F3CED2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9367" y="6554869"/>
            <a:ext cx="902633" cy="70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0719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bg>
      <p:bgPr>
        <a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16000"/>
                    </a14:imgEffect>
                  </a14:imgLayer>
                </a14:imgProps>
              </a:ext>
            </a:extLst>
          </a:blip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F540C12-E12A-374E-BA86-1C37257AF2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942545"/>
            <a:ext cx="10515600" cy="32344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3447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Slide | Dar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193" y="1609223"/>
            <a:ext cx="11029615" cy="1497507"/>
          </a:xfrm>
        </p:spPr>
        <p:txBody>
          <a:bodyPr anchor="b">
            <a:normAutofit/>
          </a:bodyPr>
          <a:lstStyle>
            <a:lvl1pPr algn="ctr">
              <a:defRPr sz="36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81192" y="3106730"/>
            <a:ext cx="11029615" cy="600556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 cap="all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sub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191C31B-8D29-1D40-BA26-FD64F81E2E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218043"/>
            <a:ext cx="12192000" cy="1639958"/>
          </a:xfrm>
          <a:prstGeom prst="rect">
            <a:avLst/>
          </a:prstGeom>
          <a:gradFill>
            <a:gsLst>
              <a:gs pos="0">
                <a:srgbClr val="218092"/>
              </a:gs>
              <a:gs pos="99000">
                <a:srgbClr val="13556F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5F4CCD34-B8C5-3249-BA81-98E8A9C8A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9367" y="6554869"/>
            <a:ext cx="902633" cy="7079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FA6EDE7-574E-9042-AB0E-B3848BAC4E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099921"/>
            <a:ext cx="12192000" cy="236243"/>
          </a:xfrm>
          <a:prstGeom prst="rect">
            <a:avLst/>
          </a:prstGeom>
          <a:solidFill>
            <a:schemeClr val="tx1">
              <a:alpha val="3602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0784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Slide |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Placeholder 6">
            <a:extLst>
              <a:ext uri="{FF2B5EF4-FFF2-40B4-BE49-F238E27FC236}">
                <a16:creationId xmlns:a16="http://schemas.microsoft.com/office/drawing/2014/main" id="{536819FF-2479-804F-AC44-DA5E23A036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888" y="-29962"/>
            <a:ext cx="12175112" cy="6887963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A9B52DCE-B4AC-8B4E-82EE-9207197A01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193" y="1609223"/>
            <a:ext cx="11029615" cy="1497507"/>
          </a:xfrm>
        </p:spPr>
        <p:txBody>
          <a:bodyPr anchor="b">
            <a:normAutofit/>
          </a:bodyPr>
          <a:lstStyle>
            <a:lvl1pPr algn="ctr">
              <a:defRPr sz="36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6A48A43-069D-4B4F-9F30-4D0DC14C7D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81192" y="3106730"/>
            <a:ext cx="11029615" cy="600556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 cap="all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subtitle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D3165F9-6887-8847-80AC-BE5A953BE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218043"/>
            <a:ext cx="12192000" cy="1639958"/>
          </a:xfrm>
          <a:prstGeom prst="rect">
            <a:avLst/>
          </a:prstGeom>
          <a:gradFill>
            <a:gsLst>
              <a:gs pos="0">
                <a:srgbClr val="218092"/>
              </a:gs>
              <a:gs pos="99000">
                <a:srgbClr val="13556F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CDD82DC2-E7F0-BC4C-BE62-455F0FEB94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9367" y="6554869"/>
            <a:ext cx="902633" cy="7079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2846D8E-C7A6-8242-95E5-2F6A618B94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099921"/>
            <a:ext cx="12192000" cy="236243"/>
          </a:xfrm>
          <a:prstGeom prst="rect">
            <a:avLst/>
          </a:prstGeom>
          <a:solidFill>
            <a:schemeClr val="tx1">
              <a:alpha val="3602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9415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|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C055329E-1508-4643-AA20-EE35A14AF5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192" y="4037917"/>
            <a:ext cx="6537158" cy="901476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en-US" sz="5400" b="1" dirty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marL="0" lvl="0" indent="0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Arial"/>
            </a:pPr>
            <a:r>
              <a:rPr lang="en-US"/>
              <a:t>QUESTIONS</a:t>
            </a:r>
          </a:p>
        </p:txBody>
      </p:sp>
      <p:pic>
        <p:nvPicPr>
          <p:cNvPr id="21" name="Picture Placeholder 6">
            <a:extLst>
              <a:ext uri="{FF2B5EF4-FFF2-40B4-BE49-F238E27FC236}">
                <a16:creationId xmlns:a16="http://schemas.microsoft.com/office/drawing/2014/main" id="{96EF7A6D-717B-4D4B-BE72-54D1E8B0F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888" y="-29962"/>
            <a:ext cx="12175112" cy="6887963"/>
          </a:xfrm>
          <a:prstGeom prst="rect">
            <a:avLst/>
          </a:prstGeom>
        </p:spPr>
      </p:pic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7676B9A7-9EE8-1A40-98DD-55FA94280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47077223-3B81-114A-A648-1FB3DAC8D2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9367" y="6554869"/>
            <a:ext cx="902633" cy="70795"/>
          </a:xfrm>
          <a:prstGeom prst="rect">
            <a:avLst/>
          </a:prstGeom>
        </p:spPr>
      </p:pic>
      <p:sp>
        <p:nvSpPr>
          <p:cNvPr id="27" name="Slide Number Placeholder 9">
            <a:extLst>
              <a:ext uri="{FF2B5EF4-FFF2-40B4-BE49-F238E27FC236}">
                <a16:creationId xmlns:a16="http://schemas.microsoft.com/office/drawing/2014/main" id="{EC042F99-9C8A-1D4E-8EF7-B13D5DCBD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8300" y="6023372"/>
            <a:ext cx="105251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23" name="Date Placeholder 6">
            <a:extLst>
              <a:ext uri="{FF2B5EF4-FFF2-40B4-BE49-F238E27FC236}">
                <a16:creationId xmlns:a16="http://schemas.microsoft.com/office/drawing/2014/main" id="{4BB8420F-9C94-DC4D-B650-4A1C16C0E5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05951" y="6024449"/>
            <a:ext cx="284479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6" name="Footer Placeholder 8">
            <a:extLst>
              <a:ext uri="{FF2B5EF4-FFF2-40B4-BE49-F238E27FC236}">
                <a16:creationId xmlns:a16="http://schemas.microsoft.com/office/drawing/2014/main" id="{C96D7685-2B68-E540-AB92-8EFC5FA800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1192" y="6020123"/>
            <a:ext cx="691721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38932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estions |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7676B9A7-9EE8-1A40-98DD-55FA94280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6FD40F6-634C-224C-9858-A8D5A36A5E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" y="0"/>
            <a:ext cx="4972050" cy="6857999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9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C055329E-1508-4643-AA20-EE35A14AF5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192" y="4037917"/>
            <a:ext cx="6537158" cy="901476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en-US" sz="5400" b="1" dirty="0">
                <a:latin typeface="+mn-lt"/>
                <a:ea typeface="+mn-ea"/>
              </a:defRPr>
            </a:lvl1pPr>
          </a:lstStyle>
          <a:p>
            <a:pPr marL="0" lvl="0" indent="0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Arial"/>
            </a:pPr>
            <a:r>
              <a:rPr lang="en-US"/>
              <a:t>QUESTIONS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7077223-3B81-114A-A648-1FB3DAC8D2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9367" y="6554869"/>
            <a:ext cx="902633" cy="70795"/>
          </a:xfrm>
          <a:prstGeom prst="rect">
            <a:avLst/>
          </a:prstGeom>
        </p:spPr>
      </p:pic>
      <p:sp>
        <p:nvSpPr>
          <p:cNvPr id="27" name="Slide Number Placeholder 9">
            <a:extLst>
              <a:ext uri="{FF2B5EF4-FFF2-40B4-BE49-F238E27FC236}">
                <a16:creationId xmlns:a16="http://schemas.microsoft.com/office/drawing/2014/main" id="{EC042F99-9C8A-1D4E-8EF7-B13D5DCBD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8300" y="6023372"/>
            <a:ext cx="105251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23" name="Date Placeholder 6">
            <a:extLst>
              <a:ext uri="{FF2B5EF4-FFF2-40B4-BE49-F238E27FC236}">
                <a16:creationId xmlns:a16="http://schemas.microsoft.com/office/drawing/2014/main" id="{4BB8420F-9C94-DC4D-B650-4A1C16C0E5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05951" y="6024449"/>
            <a:ext cx="284479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6" name="Footer Placeholder 8">
            <a:extLst>
              <a:ext uri="{FF2B5EF4-FFF2-40B4-BE49-F238E27FC236}">
                <a16:creationId xmlns:a16="http://schemas.microsoft.com/office/drawing/2014/main" id="{C96D7685-2B68-E540-AB92-8EFC5FA800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1192" y="6020123"/>
            <a:ext cx="691721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88682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| L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245EF5B8-1F19-024C-8319-7CA352C8ED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20EC4993-7A2E-F54A-A816-C8D1D0A8F3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107047"/>
            <a:ext cx="12192000" cy="1750954"/>
          </a:xfrm>
          <a:prstGeom prst="rect">
            <a:avLst/>
          </a:prstGeom>
          <a:gradFill>
            <a:gsLst>
              <a:gs pos="0">
                <a:srgbClr val="31B1BA"/>
              </a:gs>
              <a:gs pos="24000">
                <a:srgbClr val="218092"/>
              </a:gs>
              <a:gs pos="99000">
                <a:srgbClr val="13556F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0FA0AD-C01E-5B47-ACCE-F4A235E08A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4988925"/>
            <a:ext cx="12192000" cy="236243"/>
          </a:xfrm>
          <a:prstGeom prst="rect">
            <a:avLst/>
          </a:prstGeom>
          <a:solidFill>
            <a:schemeClr val="bg1">
              <a:alpha val="3602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384E0CD-A2C7-5541-8CC5-0ECDAEDA0B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7383" y="3029550"/>
            <a:ext cx="902633" cy="70795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3769CEF8-B1A7-694C-A10B-D1618F5FBEE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91133" y="2101541"/>
            <a:ext cx="5453331" cy="715070"/>
          </a:xfrm>
          <a:effectLst/>
        </p:spPr>
        <p:txBody>
          <a:bodyPr anchor="ctr">
            <a:noAutofit/>
          </a:bodyPr>
          <a:lstStyle>
            <a:lvl1pPr algn="ctr">
              <a:defRPr sz="6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5145E4AC-0F44-0F41-92D7-F07A266675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62400" y="3184738"/>
            <a:ext cx="4292600" cy="590321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cap="none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e of Next Meeting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C7DD82E-2761-0D47-99A6-208582B9B270}"/>
              </a:ext>
            </a:extLst>
          </p:cNvPr>
          <p:cNvSpPr txBox="1"/>
          <p:nvPr userDrawn="1"/>
        </p:nvSpPr>
        <p:spPr>
          <a:xfrm>
            <a:off x="6108699" y="5694613"/>
            <a:ext cx="5814874" cy="489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1">
                <a:solidFill>
                  <a:schemeClr val="bg1"/>
                </a:solidFill>
              </a:rPr>
              <a:t>Centers for Disease Control and Prevention</a:t>
            </a:r>
          </a:p>
          <a:p>
            <a:pPr lvl="0" algn="r">
              <a:lnSpc>
                <a:spcPct val="150000"/>
              </a:lnSpc>
            </a:pPr>
            <a:r>
              <a:rPr lang="en-US" sz="900" b="0">
                <a:solidFill>
                  <a:schemeClr val="bg1"/>
                </a:solidFill>
              </a:rPr>
              <a:t>National Center for Chronic Disease Prevention and Health Promotion</a:t>
            </a:r>
          </a:p>
        </p:txBody>
      </p:sp>
      <p:sp>
        <p:nvSpPr>
          <p:cNvPr id="17" name="Division Name">
            <a:extLst>
              <a:ext uri="{FF2B5EF4-FFF2-40B4-BE49-F238E27FC236}">
                <a16:creationId xmlns:a16="http://schemas.microsoft.com/office/drawing/2014/main" id="{5813D31A-E497-5F47-BE63-99A047D95A2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69358" y="6188507"/>
            <a:ext cx="5154215" cy="2968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900">
                <a:solidFill>
                  <a:schemeClr val="bg1"/>
                </a:solidFill>
              </a:defRPr>
            </a:lvl1pPr>
            <a:lvl2pPr marL="324000" indent="0">
              <a:buNone/>
              <a:defRPr/>
            </a:lvl2pPr>
            <a:lvl3pPr marL="630000" indent="0">
              <a:buNone/>
              <a:defRPr/>
            </a:lvl3pPr>
            <a:lvl4pPr marL="1008000" indent="0">
              <a:buNone/>
              <a:defRPr/>
            </a:lvl4pPr>
            <a:lvl5pPr marL="1368000" indent="0">
              <a:buNone/>
              <a:defRPr/>
            </a:lvl5pPr>
          </a:lstStyle>
          <a:p>
            <a:pPr lvl="0"/>
            <a:r>
              <a:rPr lang="en-US"/>
              <a:t>Click to enter your Division Name her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CFED2A-4725-3549-8D39-306DD1121E1E}"/>
              </a:ext>
            </a:extLst>
          </p:cNvPr>
          <p:cNvSpPr/>
          <p:nvPr userDrawn="1"/>
        </p:nvSpPr>
        <p:spPr>
          <a:xfrm>
            <a:off x="2356482" y="6426340"/>
            <a:ext cx="9567091" cy="27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50000"/>
              </a:lnSpc>
              <a:spcBef>
                <a:spcPts val="3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e findings and conclusions in this report are those of the authors and do not necessarily represent the official position of the Centers for Disease Control and Prevention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FFEC58A-F342-794A-B73A-BA9E154657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742" y="5737970"/>
            <a:ext cx="1524001" cy="873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6137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|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20EC4993-7A2E-F54A-A816-C8D1D0A8F3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5107047"/>
            <a:ext cx="12192000" cy="1750954"/>
          </a:xfrm>
          <a:prstGeom prst="rect">
            <a:avLst/>
          </a:prstGeom>
          <a:gradFill>
            <a:gsLst>
              <a:gs pos="0">
                <a:srgbClr val="31B1BA"/>
              </a:gs>
              <a:gs pos="24000">
                <a:srgbClr val="218092"/>
              </a:gs>
              <a:gs pos="99000">
                <a:srgbClr val="13556F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0FA0AD-C01E-5B47-ACCE-F4A235E08A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4988925"/>
            <a:ext cx="12192000" cy="236243"/>
          </a:xfrm>
          <a:prstGeom prst="rect">
            <a:avLst/>
          </a:prstGeom>
          <a:solidFill>
            <a:schemeClr val="bg1">
              <a:alpha val="3602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11E2350-388A-D94B-B4AF-FF083C4C76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7383" y="3029550"/>
            <a:ext cx="902633" cy="7079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60B224DA-D422-904F-A7E5-7CC5FB0E14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91133" y="2101541"/>
            <a:ext cx="5453331" cy="715070"/>
          </a:xfrm>
          <a:effectLst/>
        </p:spPr>
        <p:txBody>
          <a:bodyPr anchor="ctr">
            <a:noAutofit/>
          </a:bodyPr>
          <a:lstStyle>
            <a:lvl1pPr algn="ctr"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99BB7E49-A433-6B4B-A980-E11AEB54E91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62400" y="3184738"/>
            <a:ext cx="4292600" cy="590321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 cap="none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Date of Next Meet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4776558-3C73-6845-A401-B5BAEF1D066A}"/>
              </a:ext>
            </a:extLst>
          </p:cNvPr>
          <p:cNvSpPr txBox="1"/>
          <p:nvPr userDrawn="1"/>
        </p:nvSpPr>
        <p:spPr>
          <a:xfrm>
            <a:off x="6108699" y="5694613"/>
            <a:ext cx="5814874" cy="489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1">
                <a:solidFill>
                  <a:schemeClr val="bg1"/>
                </a:solidFill>
              </a:rPr>
              <a:t>Centers for Disease Control and Prevention</a:t>
            </a:r>
          </a:p>
          <a:p>
            <a:pPr lvl="0" algn="r">
              <a:lnSpc>
                <a:spcPct val="150000"/>
              </a:lnSpc>
            </a:pPr>
            <a:r>
              <a:rPr lang="en-US" sz="900" b="0">
                <a:solidFill>
                  <a:schemeClr val="bg1"/>
                </a:solidFill>
              </a:rPr>
              <a:t>National Center for Chronic Disease Prevention and Health Promotion</a:t>
            </a:r>
          </a:p>
        </p:txBody>
      </p:sp>
      <p:sp>
        <p:nvSpPr>
          <p:cNvPr id="16" name="Division Name">
            <a:extLst>
              <a:ext uri="{FF2B5EF4-FFF2-40B4-BE49-F238E27FC236}">
                <a16:creationId xmlns:a16="http://schemas.microsoft.com/office/drawing/2014/main" id="{637FA8BF-B4BB-434C-84E7-DACF9376FF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69358" y="6188507"/>
            <a:ext cx="5154215" cy="2968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900">
                <a:solidFill>
                  <a:schemeClr val="bg1"/>
                </a:solidFill>
              </a:defRPr>
            </a:lvl1pPr>
            <a:lvl2pPr marL="324000" indent="0">
              <a:buNone/>
              <a:defRPr/>
            </a:lvl2pPr>
            <a:lvl3pPr marL="630000" indent="0">
              <a:buNone/>
              <a:defRPr/>
            </a:lvl3pPr>
            <a:lvl4pPr marL="1008000" indent="0">
              <a:buNone/>
              <a:defRPr/>
            </a:lvl4pPr>
            <a:lvl5pPr marL="1368000" indent="0">
              <a:buNone/>
              <a:defRPr/>
            </a:lvl5pPr>
          </a:lstStyle>
          <a:p>
            <a:pPr lvl="0"/>
            <a:r>
              <a:rPr lang="en-US"/>
              <a:t>Click to enter your Division Name her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B127ABE-D5C8-4B40-921D-0788740B6D32}"/>
              </a:ext>
            </a:extLst>
          </p:cNvPr>
          <p:cNvSpPr/>
          <p:nvPr userDrawn="1"/>
        </p:nvSpPr>
        <p:spPr>
          <a:xfrm>
            <a:off x="2356482" y="6426340"/>
            <a:ext cx="9567091" cy="27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50000"/>
              </a:lnSpc>
              <a:spcBef>
                <a:spcPts val="3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e findings and conclusions in this report are those of the authors and do not necessarily represent the official position of the Centers for Disease Control and Prevention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EE9B0B0-2A98-8346-BEE8-A9E1044C38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742" y="5737970"/>
            <a:ext cx="1524001" cy="873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2486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 | Photograp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6">
            <a:extLst>
              <a:ext uri="{FF2B5EF4-FFF2-40B4-BE49-F238E27FC236}">
                <a16:creationId xmlns:a16="http://schemas.microsoft.com/office/drawing/2014/main" id="{C5C4B111-534A-524F-9225-2420A71EB2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8699" y="-1272"/>
            <a:ext cx="3053130" cy="3859968"/>
          </a:xfrm>
          <a:prstGeom prst="rect">
            <a:avLst/>
          </a:prstGeom>
        </p:spPr>
      </p:pic>
      <p:pic>
        <p:nvPicPr>
          <p:cNvPr id="23" name="Picture Placeholder 6">
            <a:extLst>
              <a:ext uri="{FF2B5EF4-FFF2-40B4-BE49-F238E27FC236}">
                <a16:creationId xmlns:a16="http://schemas.microsoft.com/office/drawing/2014/main" id="{D84BF61F-2402-3641-93EB-EE81B72320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38870" y="0"/>
            <a:ext cx="3053130" cy="3742774"/>
          </a:xfrm>
          <a:prstGeom prst="rect">
            <a:avLst/>
          </a:prstGeom>
        </p:spPr>
      </p:pic>
      <p:pic>
        <p:nvPicPr>
          <p:cNvPr id="24" name="Picture Placeholder 6">
            <a:extLst>
              <a:ext uri="{FF2B5EF4-FFF2-40B4-BE49-F238E27FC236}">
                <a16:creationId xmlns:a16="http://schemas.microsoft.com/office/drawing/2014/main" id="{A2CAEB1B-F143-0044-9FBC-66B3CA0797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"/>
            <a:ext cx="3083242" cy="3742772"/>
          </a:xfrm>
          <a:prstGeom prst="rect">
            <a:avLst/>
          </a:prstGeom>
        </p:spPr>
      </p:pic>
      <p:pic>
        <p:nvPicPr>
          <p:cNvPr id="25" name="Picture Placeholder 6">
            <a:extLst>
              <a:ext uri="{FF2B5EF4-FFF2-40B4-BE49-F238E27FC236}">
                <a16:creationId xmlns:a16="http://schemas.microsoft.com/office/drawing/2014/main" id="{D24F8BDE-08C0-C549-B685-DB088C052B0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74144" y="1"/>
            <a:ext cx="3051544" cy="3859968"/>
          </a:xfrm>
          <a:prstGeom prst="rect">
            <a:avLst/>
          </a:prstGeom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5897B961-385F-9449-962C-D36861EEA0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6742" y="4107608"/>
            <a:ext cx="5453331" cy="715070"/>
          </a:xfrm>
          <a:effectLst/>
        </p:spPr>
        <p:txBody>
          <a:bodyPr anchor="ctr">
            <a:noAutofit/>
          </a:bodyPr>
          <a:lstStyle>
            <a:lvl1pPr algn="l"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9E59930-0883-0240-AEC6-30DA2A17B3FB}"/>
              </a:ext>
            </a:extLst>
          </p:cNvPr>
          <p:cNvSpPr txBox="1"/>
          <p:nvPr userDrawn="1"/>
        </p:nvSpPr>
        <p:spPr>
          <a:xfrm>
            <a:off x="6108699" y="5694613"/>
            <a:ext cx="5814874" cy="489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1">
                <a:solidFill>
                  <a:schemeClr val="bg1"/>
                </a:solidFill>
              </a:rPr>
              <a:t>Centers for Disease Control and Prevention</a:t>
            </a:r>
          </a:p>
          <a:p>
            <a:pPr lvl="0" algn="r">
              <a:lnSpc>
                <a:spcPct val="150000"/>
              </a:lnSpc>
            </a:pPr>
            <a:r>
              <a:rPr lang="en-US" sz="900" b="0">
                <a:solidFill>
                  <a:schemeClr val="bg1"/>
                </a:solidFill>
              </a:rPr>
              <a:t>National Center for Chronic Disease Prevention and Health Promotion</a:t>
            </a:r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528EC04B-3C32-4742-9513-FBBEF03FA17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6742" y="5043105"/>
            <a:ext cx="4292600" cy="389547"/>
          </a:xfrm>
        </p:spPr>
        <p:txBody>
          <a:bodyPr anchor="t">
            <a:normAutofit/>
          </a:bodyPr>
          <a:lstStyle>
            <a:lvl1pPr marL="0" indent="0" algn="l">
              <a:buNone/>
              <a:defRPr sz="1400" cap="none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ontact Info</a:t>
            </a:r>
          </a:p>
        </p:txBody>
      </p:sp>
      <p:sp>
        <p:nvSpPr>
          <p:cNvPr id="18" name="Division Name">
            <a:extLst>
              <a:ext uri="{FF2B5EF4-FFF2-40B4-BE49-F238E27FC236}">
                <a16:creationId xmlns:a16="http://schemas.microsoft.com/office/drawing/2014/main" id="{2E17C6EB-E192-2741-BAFA-AF2449ADD82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69358" y="6188507"/>
            <a:ext cx="5154215" cy="2968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900">
                <a:solidFill>
                  <a:schemeClr val="bg1"/>
                </a:solidFill>
              </a:defRPr>
            </a:lvl1pPr>
            <a:lvl2pPr marL="324000" indent="0">
              <a:buNone/>
              <a:defRPr/>
            </a:lvl2pPr>
            <a:lvl3pPr marL="630000" indent="0">
              <a:buNone/>
              <a:defRPr/>
            </a:lvl3pPr>
            <a:lvl4pPr marL="1008000" indent="0">
              <a:buNone/>
              <a:defRPr/>
            </a:lvl4pPr>
            <a:lvl5pPr marL="1368000" indent="0">
              <a:buNone/>
              <a:defRPr/>
            </a:lvl5pPr>
          </a:lstStyle>
          <a:p>
            <a:pPr lvl="0"/>
            <a:r>
              <a:rPr lang="en-US"/>
              <a:t>Click to enter your Division Name he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7FCE278-30E9-4E4F-BC16-75E4DB661074}"/>
              </a:ext>
            </a:extLst>
          </p:cNvPr>
          <p:cNvSpPr/>
          <p:nvPr userDrawn="1"/>
        </p:nvSpPr>
        <p:spPr>
          <a:xfrm>
            <a:off x="2356482" y="6426340"/>
            <a:ext cx="9567091" cy="27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50000"/>
              </a:lnSpc>
              <a:spcBef>
                <a:spcPts val="3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e findings and conclusions in this report are those of the authors and do not necessarily represent the official position of the Centers for Disease Control and Prevention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F7F3A6F-0DB6-3E4E-9354-5A3C02FB63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742774"/>
            <a:ext cx="12192000" cy="3115226"/>
          </a:xfrm>
          <a:prstGeom prst="rect">
            <a:avLst/>
          </a:prstGeom>
          <a:gradFill>
            <a:gsLst>
              <a:gs pos="0">
                <a:srgbClr val="31B1BA"/>
              </a:gs>
              <a:gs pos="24000">
                <a:srgbClr val="218092"/>
              </a:gs>
              <a:gs pos="99000">
                <a:srgbClr val="13556F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DD9FC9F1-872A-A844-BA3F-B9F5F423F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742" y="5737970"/>
            <a:ext cx="1524001" cy="87332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FE26990E-92CC-084A-93B4-F8192307C1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800" y="4924334"/>
            <a:ext cx="902633" cy="70795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D30A13C-785C-D143-92EA-3E6776D42F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3654704"/>
            <a:ext cx="12192000" cy="236243"/>
          </a:xfrm>
          <a:prstGeom prst="rect">
            <a:avLst/>
          </a:prstGeom>
          <a:solidFill>
            <a:schemeClr val="bg1">
              <a:alpha val="3602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70264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TitlePage_BG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" y="499933"/>
            <a:ext cx="11494008" cy="14295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4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5894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TitlePage_BG-02.png">
            <a:extLst>
              <a:ext uri="{FF2B5EF4-FFF2-40B4-BE49-F238E27FC236}">
                <a16:creationId xmlns:a16="http://schemas.microsoft.com/office/drawing/2014/main" id="{0AF63022-7ADE-48AD-AAEE-C1B7789187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" y="499933"/>
            <a:ext cx="11494008" cy="1429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70865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TitlePage_BG-0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" y="499933"/>
            <a:ext cx="11494008" cy="142951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193" y="2228003"/>
            <a:ext cx="5422390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8417" y="2228003"/>
            <a:ext cx="5422392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4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  <p:pic>
        <p:nvPicPr>
          <p:cNvPr id="10" name="Picture 9" descr="TitlePage_BG-02.png">
            <a:extLst>
              <a:ext uri="{FF2B5EF4-FFF2-40B4-BE49-F238E27FC236}">
                <a16:creationId xmlns:a16="http://schemas.microsoft.com/office/drawing/2014/main" id="{1F7A7CEE-B12D-470E-9019-C67D740CC9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" y="499933"/>
            <a:ext cx="11494008" cy="1429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48076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or char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585120FC-1B2F-4132-95D7-ED8340727F60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854557" y="1805552"/>
            <a:ext cx="10497656" cy="4529796"/>
          </a:xfrm>
        </p:spPr>
        <p:txBody>
          <a:bodyPr/>
          <a:lstStyle>
            <a:lvl1pPr>
              <a:spcAft>
                <a:spcPts val="1200"/>
              </a:spcAft>
              <a:buNone/>
              <a:defRPr sz="3600" b="1">
                <a:solidFill>
                  <a:srgbClr val="17468F"/>
                </a:solidFill>
              </a:defRPr>
            </a:lvl1pPr>
            <a:lvl2pPr marL="290513" indent="-290513">
              <a:spcBef>
                <a:spcPts val="600"/>
              </a:spcBef>
              <a:spcAft>
                <a:spcPts val="600"/>
              </a:spcAft>
              <a:buClr>
                <a:srgbClr val="007D57"/>
              </a:buClr>
              <a:buFont typeface="Wingdings" panose="05000000000000000000" pitchFamily="2" charset="2"/>
              <a:buChar char="§"/>
              <a:defRPr sz="2800"/>
            </a:lvl2pPr>
            <a:lvl3pPr marL="623888" indent="-333375">
              <a:spcBef>
                <a:spcPts val="600"/>
              </a:spcBef>
              <a:spcAft>
                <a:spcPts val="600"/>
              </a:spcAft>
              <a:defRPr sz="2400"/>
            </a:lvl3pPr>
            <a:lvl4pPr marL="914400" indent="-231775">
              <a:spcBef>
                <a:spcPts val="600"/>
              </a:spcBef>
              <a:spcAft>
                <a:spcPts val="600"/>
              </a:spcAft>
              <a:defRPr/>
            </a:lvl4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B4241B2-BDC3-48F2-A9BF-80054FB2BE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3600" b="1">
                <a:solidFill>
                  <a:srgbClr val="17468F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A049B38-50F0-45F7-A324-BC5368813C4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670633"/>
            <a:ext cx="12192000" cy="190593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vert="horz" wrap="square" lIns="60960" tIns="30480" rIns="60960" bIns="30480" numCol="1" anchor="t" anchorCtr="0" compatLnSpc="1">
            <a:prstTxWarp prst="textNoShape">
              <a:avLst/>
            </a:prstTxWarp>
          </a:bodyPr>
          <a:lstStyle/>
          <a:p>
            <a:endParaRPr lang="en-US" sz="1667"/>
          </a:p>
        </p:txBody>
      </p:sp>
    </p:spTree>
    <p:extLst>
      <p:ext uri="{BB962C8B-B14F-4D97-AF65-F5344CB8AC3E}">
        <p14:creationId xmlns:p14="http://schemas.microsoft.com/office/powerpoint/2010/main" val="7489681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E31EA8-D2BB-7E4D-902C-1EB2476B1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9"/>
            <a:ext cx="4567464" cy="1033462"/>
          </a:xfrm>
        </p:spPr>
        <p:txBody>
          <a:bodyPr anchor="b">
            <a:normAutofit/>
          </a:bodyPr>
          <a:lstStyle>
            <a:lvl1pPr>
              <a:defRPr sz="2800">
                <a:solidFill>
                  <a:srgbClr val="2C70B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B0E94E-8B83-1C46-B4CE-2C7DAACFD3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3026229"/>
            <a:ext cx="4567464" cy="3063421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4C709D3B-340F-344D-BB97-8EEECCA101F8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694714" y="992187"/>
            <a:ext cx="4876800" cy="492964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6913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Breadcrumb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9C3DAE3-FC32-4DC4-B267-FECFECDBF2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9C3DAE3-FC32-4DC4-B267-FECFECDBF2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926F5A6-2A3E-48F2-870C-70D3D964C4A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latin typeface="Chronicle Display Black"/>
              <a:sym typeface="Chronicle Display Black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67" y="694944"/>
            <a:ext cx="10955048" cy="594360"/>
          </a:xfrm>
        </p:spPr>
        <p:txBody>
          <a:bodyPr vert="horz" lIns="0" tIns="45720" rIns="0" bIns="0" rtlCol="0" anchor="t" anchorCtr="0">
            <a:noAutofit/>
          </a:bodyPr>
          <a:lstStyle>
            <a:lvl1pPr>
              <a:defRPr lang="en-US" sz="2400" b="0" spc="-75" dirty="0">
                <a:latin typeface="+mj-lt"/>
              </a:defRPr>
            </a:lvl1pPr>
          </a:lstStyle>
          <a:p>
            <a:pPr lvl="0" defTabSz="685800">
              <a:lnSpc>
                <a:spcPct val="85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FD545910-EC58-4E59-AC9B-9F096DAB35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8638" y="466344"/>
            <a:ext cx="3547503" cy="203200"/>
          </a:xfr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lang="en-US" sz="900" b="1" kern="0" cap="all" spc="250" baseline="0" dirty="0">
                <a:solidFill>
                  <a:schemeClr val="accent5">
                    <a:lumMod val="60000"/>
                    <a:lumOff val="40000"/>
                  </a:schemeClr>
                </a:solidFill>
                <a:ea typeface="Nexa Black" charset="0"/>
                <a:cs typeface="Nexa Black" charset="0"/>
              </a:defRPr>
            </a:lvl1pPr>
          </a:lstStyle>
          <a:p>
            <a:pPr marL="228600" lvl="0" indent="-228600"/>
            <a:r>
              <a:rPr lang="en-US"/>
              <a:t>BREADCRUMBS</a:t>
            </a:r>
          </a:p>
        </p:txBody>
      </p:sp>
    </p:spTree>
    <p:extLst>
      <p:ext uri="{BB962C8B-B14F-4D97-AF65-F5344CB8AC3E}">
        <p14:creationId xmlns:p14="http://schemas.microsoft.com/office/powerpoint/2010/main" val="3560405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56DFF8C7-4E12-1044-97F3-7CA8174020B4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rgbClr val="2C70B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E31EA8-D2BB-7E4D-902C-1EB2476B1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7116" y="1807029"/>
            <a:ext cx="4567464" cy="1033462"/>
          </a:xfrm>
        </p:spPr>
        <p:txBody>
          <a:bodyPr anchor="b">
            <a:normAutofit/>
          </a:bodyPr>
          <a:lstStyle>
            <a:lvl1pPr>
              <a:defRPr sz="2800">
                <a:solidFill>
                  <a:srgbClr val="2C70B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B0E94E-8B83-1C46-B4CE-2C7DAACFD3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47116" y="3102432"/>
            <a:ext cx="4567464" cy="3211283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E79650DD-9FE9-6E46-980A-D710954CBB93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42257" y="1807029"/>
            <a:ext cx="4778829" cy="450668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234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199516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7658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_CDC_ATSD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84D200BC-739F-E118-66FF-78E246516802}"/>
              </a:ext>
            </a:extLst>
          </p:cNvPr>
          <p:cNvGrpSpPr/>
          <p:nvPr userDrawn="1"/>
        </p:nvGrpSpPr>
        <p:grpSpPr>
          <a:xfrm>
            <a:off x="0" y="0"/>
            <a:ext cx="12192000" cy="1158861"/>
            <a:chOff x="0" y="1079970"/>
            <a:chExt cx="7112000" cy="22443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5488B65-51B9-24CC-82CF-581585667F65}"/>
                </a:ext>
              </a:extLst>
            </p:cNvPr>
            <p:cNvSpPr/>
            <p:nvPr userDrawn="1"/>
          </p:nvSpPr>
          <p:spPr>
            <a:xfrm>
              <a:off x="0" y="1079970"/>
              <a:ext cx="7112000" cy="224308"/>
            </a:xfrm>
            <a:prstGeom prst="rect">
              <a:avLst/>
            </a:prstGeom>
            <a:solidFill>
              <a:srgbClr val="0057B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749"/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57EE0707-A628-935A-CECC-70626B3FA8FC}"/>
                </a:ext>
              </a:extLst>
            </p:cNvPr>
            <p:cNvGrpSpPr/>
            <p:nvPr userDrawn="1"/>
          </p:nvGrpSpPr>
          <p:grpSpPr>
            <a:xfrm>
              <a:off x="430" y="1080101"/>
              <a:ext cx="5345267" cy="224308"/>
              <a:chOff x="1771" y="389"/>
              <a:chExt cx="18815689" cy="664930"/>
            </a:xfrm>
          </p:grpSpPr>
          <p:sp>
            <p:nvSpPr>
              <p:cNvPr id="11" name="Parallelogram 9">
                <a:extLst>
                  <a:ext uri="{FF2B5EF4-FFF2-40B4-BE49-F238E27FC236}">
                    <a16:creationId xmlns:a16="http://schemas.microsoft.com/office/drawing/2014/main" id="{8C56AB45-808E-D371-67FF-0A735725B5BF}"/>
                  </a:ext>
                </a:extLst>
              </p:cNvPr>
              <p:cNvSpPr/>
              <p:nvPr userDrawn="1"/>
            </p:nvSpPr>
            <p:spPr>
              <a:xfrm>
                <a:off x="1771" y="389"/>
                <a:ext cx="2010345" cy="664930"/>
              </a:xfrm>
              <a:custGeom>
                <a:avLst/>
                <a:gdLst>
                  <a:gd name="connsiteX0" fmla="*/ 0 w 2399861"/>
                  <a:gd name="connsiteY0" fmla="*/ 668592 h 668592"/>
                  <a:gd name="connsiteX1" fmla="*/ 167148 w 2399861"/>
                  <a:gd name="connsiteY1" fmla="*/ 0 h 668592"/>
                  <a:gd name="connsiteX2" fmla="*/ 2399861 w 2399861"/>
                  <a:gd name="connsiteY2" fmla="*/ 0 h 668592"/>
                  <a:gd name="connsiteX3" fmla="*/ 2232713 w 2399861"/>
                  <a:gd name="connsiteY3" fmla="*/ 668592 h 668592"/>
                  <a:gd name="connsiteX4" fmla="*/ 0 w 2399861"/>
                  <a:gd name="connsiteY4" fmla="*/ 668592 h 668592"/>
                  <a:gd name="connsiteX0" fmla="*/ 0 w 2261638"/>
                  <a:gd name="connsiteY0" fmla="*/ 668592 h 668592"/>
                  <a:gd name="connsiteX1" fmla="*/ 28925 w 2261638"/>
                  <a:gd name="connsiteY1" fmla="*/ 0 h 668592"/>
                  <a:gd name="connsiteX2" fmla="*/ 2261638 w 2261638"/>
                  <a:gd name="connsiteY2" fmla="*/ 0 h 668592"/>
                  <a:gd name="connsiteX3" fmla="*/ 2094490 w 2261638"/>
                  <a:gd name="connsiteY3" fmla="*/ 668592 h 668592"/>
                  <a:gd name="connsiteX4" fmla="*/ 0 w 2261638"/>
                  <a:gd name="connsiteY4" fmla="*/ 668592 h 66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61638" h="668592">
                    <a:moveTo>
                      <a:pt x="0" y="668592"/>
                    </a:moveTo>
                    <a:lnTo>
                      <a:pt x="28925" y="0"/>
                    </a:lnTo>
                    <a:lnTo>
                      <a:pt x="2261638" y="0"/>
                    </a:lnTo>
                    <a:lnTo>
                      <a:pt x="2094490" y="668592"/>
                    </a:lnTo>
                    <a:lnTo>
                      <a:pt x="0" y="668592"/>
                    </a:lnTo>
                    <a:close/>
                  </a:path>
                </a:pathLst>
              </a:custGeom>
              <a:solidFill>
                <a:srgbClr val="16438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12" name="Parallelogram 11">
                <a:extLst>
                  <a:ext uri="{FF2B5EF4-FFF2-40B4-BE49-F238E27FC236}">
                    <a16:creationId xmlns:a16="http://schemas.microsoft.com/office/drawing/2014/main" id="{91CB8924-C83A-F743-E7B7-6A26681D7283}"/>
                  </a:ext>
                </a:extLst>
              </p:cNvPr>
              <p:cNvSpPr/>
              <p:nvPr userDrawn="1"/>
            </p:nvSpPr>
            <p:spPr>
              <a:xfrm>
                <a:off x="1267572" y="389"/>
                <a:ext cx="3829094" cy="664930"/>
              </a:xfrm>
              <a:prstGeom prst="parallelogram">
                <a:avLst/>
              </a:prstGeom>
              <a:solidFill>
                <a:srgbClr val="194D9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13" name="Parallelogram 12">
                <a:extLst>
                  <a:ext uri="{FF2B5EF4-FFF2-40B4-BE49-F238E27FC236}">
                    <a16:creationId xmlns:a16="http://schemas.microsoft.com/office/drawing/2014/main" id="{352A5B8C-A481-8BA7-8E13-68A6747B9BFD}"/>
                  </a:ext>
                </a:extLst>
              </p:cNvPr>
              <p:cNvSpPr/>
              <p:nvPr userDrawn="1"/>
            </p:nvSpPr>
            <p:spPr>
              <a:xfrm>
                <a:off x="4209773" y="389"/>
                <a:ext cx="4996928" cy="664930"/>
              </a:xfrm>
              <a:prstGeom prst="parallelogram">
                <a:avLst/>
              </a:prstGeom>
              <a:solidFill>
                <a:srgbClr val="1C56A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14" name="Parallelogram 13">
                <a:extLst>
                  <a:ext uri="{FF2B5EF4-FFF2-40B4-BE49-F238E27FC236}">
                    <a16:creationId xmlns:a16="http://schemas.microsoft.com/office/drawing/2014/main" id="{DAB573E3-591C-13FE-7262-EA1F1564CB36}"/>
                  </a:ext>
                </a:extLst>
              </p:cNvPr>
              <p:cNvSpPr/>
              <p:nvPr userDrawn="1"/>
            </p:nvSpPr>
            <p:spPr>
              <a:xfrm>
                <a:off x="8136570" y="389"/>
                <a:ext cx="6026733" cy="664930"/>
              </a:xfrm>
              <a:prstGeom prst="parallelogram">
                <a:avLst/>
              </a:prstGeom>
              <a:solidFill>
                <a:srgbClr val="1E5DB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  <p:sp>
            <p:nvSpPr>
              <p:cNvPr id="15" name="Parallelogram 14">
                <a:extLst>
                  <a:ext uri="{FF2B5EF4-FFF2-40B4-BE49-F238E27FC236}">
                    <a16:creationId xmlns:a16="http://schemas.microsoft.com/office/drawing/2014/main" id="{C0A06E43-B1E2-116B-6C8D-8AE5C97FA5CC}"/>
                  </a:ext>
                </a:extLst>
              </p:cNvPr>
              <p:cNvSpPr/>
              <p:nvPr userDrawn="1"/>
            </p:nvSpPr>
            <p:spPr>
              <a:xfrm>
                <a:off x="15172395" y="389"/>
                <a:ext cx="3645065" cy="664930"/>
              </a:xfrm>
              <a:prstGeom prst="parallelogram">
                <a:avLst/>
              </a:prstGeom>
              <a:solidFill>
                <a:srgbClr val="0057B7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749"/>
              </a:p>
            </p:txBody>
          </p:sp>
        </p:grpSp>
      </p:grpSp>
      <p:sp>
        <p:nvSpPr>
          <p:cNvPr id="7" name="Title 1"/>
          <p:cNvSpPr>
            <a:spLocks noGrp="1"/>
          </p:cNvSpPr>
          <p:nvPr userDrawn="1">
            <p:ph type="title"/>
          </p:nvPr>
        </p:nvSpPr>
        <p:spPr>
          <a:xfrm>
            <a:off x="609600" y="1184275"/>
            <a:ext cx="10972800" cy="1169363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4000"/>
              </a:lnSpc>
              <a:defRPr sz="3733" b="1" baseline="0">
                <a:solidFill>
                  <a:srgbClr val="0057B7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Subtitle 2"/>
          <p:cNvSpPr>
            <a:spLocks noGrp="1"/>
          </p:cNvSpPr>
          <p:nvPr userDrawn="1">
            <p:ph type="subTitle" idx="1"/>
          </p:nvPr>
        </p:nvSpPr>
        <p:spPr>
          <a:xfrm>
            <a:off x="609600" y="2859349"/>
            <a:ext cx="8534400" cy="4572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67" b="1" baseline="0">
                <a:solidFill>
                  <a:srgbClr val="0057B7"/>
                </a:solidFill>
                <a:effectLst/>
                <a:latin typeface="Calibri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/>
          </a:p>
        </p:txBody>
      </p:sp>
      <p:sp>
        <p:nvSpPr>
          <p:cNvPr id="10" name="Text Placeholder 8"/>
          <p:cNvSpPr>
            <a:spLocks noGrp="1"/>
          </p:cNvSpPr>
          <p:nvPr userDrawn="1">
            <p:ph type="body" sz="quarter" idx="10"/>
          </p:nvPr>
        </p:nvSpPr>
        <p:spPr>
          <a:xfrm>
            <a:off x="609600" y="3946019"/>
            <a:ext cx="8534400" cy="12954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667"/>
              </a:lnSpc>
              <a:buNone/>
              <a:defRPr sz="2400" baseline="0">
                <a:solidFill>
                  <a:srgbClr val="1D1D1D"/>
                </a:solidFill>
                <a:latin typeface="Calibri" pitchFamily="34" charset="0"/>
              </a:defRPr>
            </a:lvl1pPr>
            <a:lvl2pPr algn="ctr">
              <a:defRPr>
                <a:solidFill>
                  <a:schemeClr val="tx2"/>
                </a:solidFill>
              </a:defRPr>
            </a:lvl2pPr>
            <a:lvl3pPr algn="ctr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tx2"/>
                </a:solidFill>
              </a:defRPr>
            </a:lvl4pPr>
            <a:lvl5pPr algn="ctr">
              <a:defRPr>
                <a:solidFill>
                  <a:schemeClr val="tx2"/>
                </a:solidFill>
              </a:defRPr>
            </a:lvl5pPr>
          </a:lstStyle>
          <a:p>
            <a:pPr lvl="0"/>
            <a:endParaRPr lang="en-US"/>
          </a:p>
        </p:txBody>
      </p:sp>
      <p:pic>
        <p:nvPicPr>
          <p:cNvPr id="2" name="Picture 1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4E39FFFF-C774-97B8-69C4-310FAF71A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06" t="47892" r="12803" b="15738"/>
          <a:stretch/>
        </p:blipFill>
        <p:spPr>
          <a:xfrm>
            <a:off x="9579283" y="217823"/>
            <a:ext cx="1117600" cy="725917"/>
          </a:xfrm>
          <a:prstGeom prst="rect">
            <a:avLst/>
          </a:prstGeom>
        </p:spPr>
      </p:pic>
      <p:pic>
        <p:nvPicPr>
          <p:cNvPr id="5" name="Picture 4" descr="A black and white sign&#10;&#10;Description automatically generated with medium confidence">
            <a:extLst>
              <a:ext uri="{FF2B5EF4-FFF2-40B4-BE49-F238E27FC236}">
                <a16:creationId xmlns:a16="http://schemas.microsoft.com/office/drawing/2014/main" id="{215F3BEF-D3CB-A296-5B47-851ADE98EE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1180" y="408811"/>
            <a:ext cx="1041453" cy="319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7495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image" Target="../media/image6.png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D02F292-FBAA-624E-8DF0-65F4B11C8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616983"/>
            <a:ext cx="10515600" cy="9847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ED5248-E335-5143-ABE3-01277216AB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942545"/>
            <a:ext cx="10515600" cy="32344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F254681-13BF-2FE0-A774-96E9E79FDC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121" y="274866"/>
            <a:ext cx="3682106" cy="1140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427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49" r:id="rId2"/>
    <p:sldLayoutId id="2147483656" r:id="rId3"/>
    <p:sldLayoutId id="2147483657" r:id="rId4"/>
    <p:sldLayoutId id="2147483651" r:id="rId5"/>
    <p:sldLayoutId id="2147483660" r:id="rId6"/>
    <p:sldLayoutId id="2147483650" r:id="rId7"/>
    <p:sldLayoutId id="2147483662" r:id="rId8"/>
    <p:sldLayoutId id="2147483663" r:id="rId9"/>
    <p:sldLayoutId id="2147483664" r:id="rId10"/>
    <p:sldLayoutId id="2147483665" r:id="rId11"/>
    <p:sldLayoutId id="214748366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rgbClr val="2C70BA"/>
          </a:solidFill>
          <a:latin typeface="Futura Std Light" panose="020B04020202040203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Futura Std Light" panose="020B04020202040203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utura Std Light" panose="020B04020202040203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Futura Std Light" panose="020B04020202040203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utura Std Light" panose="020B04020202040203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utura Std Light" panose="020B04020202040203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6AE80B7-8459-1E57-E07B-EFD832E927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3">
                <a:solidFill>
                  <a:srgbClr val="0057B7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BEFFA85-9BE2-6483-0D38-5E20791A65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71388" y="6356350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33">
                <a:solidFill>
                  <a:srgbClr val="0057B7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8E7DCDC-E408-4B61-982D-00D1D5E6AEFC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4413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4" r:id="rId6"/>
    <p:sldLayoutId id="2147483675" r:id="rId7"/>
    <p:sldLayoutId id="2147483676" r:id="rId8"/>
    <p:sldLayoutId id="2147483678" r:id="rId9"/>
    <p:sldLayoutId id="2147483679" r:id="rId10"/>
    <p:sldLayoutId id="2147483680" r:id="rId11"/>
    <p:sldLayoutId id="2147483681" r:id="rId12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Clr>
          <a:srgbClr val="0033A1"/>
        </a:buClr>
        <a:buFont typeface="Arial" panose="020B0604020202020204" pitchFamily="34" charset="0"/>
        <a:buChar char="•"/>
        <a:defRPr sz="4267" kern="1200">
          <a:solidFill>
            <a:srgbClr val="1D1D1D"/>
          </a:solidFill>
          <a:latin typeface="Calibri" panose="020F0502020204030204" pitchFamily="34" charset="0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Clr>
          <a:srgbClr val="0033A1"/>
        </a:buClr>
        <a:buFont typeface="Arial" panose="020B0604020202020204" pitchFamily="34" charset="0"/>
        <a:buChar char="–"/>
        <a:defRPr sz="3733" kern="1200">
          <a:solidFill>
            <a:srgbClr val="1D1D1D"/>
          </a:solidFill>
          <a:latin typeface="Calibri" panose="020F0502020204030204" pitchFamily="34" charset="0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rgbClr val="1D1D1D"/>
          </a:solidFill>
          <a:latin typeface="Calibri" panose="020F0502020204030204" pitchFamily="34" charset="0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rgbClr val="1D1D1D"/>
          </a:solidFill>
          <a:latin typeface="Calibri" panose="020F0502020204030204" pitchFamily="34" charset="0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rgbClr val="1D1D1D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1997339"/>
            <a:ext cx="11029616" cy="352279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US"/>
              <a:t>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8300" y="6023372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05951" y="6023372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1192" y="6019046"/>
            <a:ext cx="69172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611BD40E-B1E3-8841-94E9-6E7DE8F2A4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89367" y="6554869"/>
            <a:ext cx="902633" cy="70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170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  <p:sldLayoutId id="2147483703" r:id="rId21"/>
    <p:sldLayoutId id="2147483704" r:id="rId22"/>
    <p:sldLayoutId id="2147483706" r:id="rId23"/>
    <p:sldLayoutId id="2147483707" r:id="rId24"/>
    <p:sldLayoutId id="2147483708" r:id="rId25"/>
    <p:sldLayoutId id="2147483709" r:id="rId26"/>
  </p:sldLayoutIdLst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3200" b="0" kern="1200" cap="none">
          <a:solidFill>
            <a:schemeClr val="tx1"/>
          </a:solidFill>
          <a:latin typeface="+mj-lt"/>
          <a:ea typeface="+mj-ea"/>
          <a:cs typeface="Calibri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Arial"/>
        <a:buChar char="•"/>
        <a:defRPr sz="2000" kern="1200">
          <a:solidFill>
            <a:srgbClr val="122C41"/>
          </a:solidFill>
          <a:latin typeface="+mn-lt"/>
          <a:ea typeface="+mn-ea"/>
          <a:cs typeface="Calibri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Arial"/>
        <a:buChar char="•"/>
        <a:defRPr sz="1800" kern="1200">
          <a:solidFill>
            <a:srgbClr val="122C41"/>
          </a:solidFill>
          <a:latin typeface="+mn-lt"/>
          <a:ea typeface="+mn-ea"/>
          <a:cs typeface="Calibri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Arial"/>
        <a:buChar char="•"/>
        <a:defRPr sz="1600" kern="1200">
          <a:solidFill>
            <a:srgbClr val="122C41"/>
          </a:solidFill>
          <a:latin typeface="+mn-lt"/>
          <a:ea typeface="+mn-ea"/>
          <a:cs typeface="Calibri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Arial"/>
        <a:buChar char="•"/>
        <a:defRPr sz="1400" kern="1200">
          <a:solidFill>
            <a:srgbClr val="122C41"/>
          </a:solidFill>
          <a:latin typeface="+mn-lt"/>
          <a:ea typeface="+mn-ea"/>
          <a:cs typeface="Calibri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Arial"/>
        <a:buChar char="•"/>
        <a:defRPr sz="1400" kern="1200">
          <a:solidFill>
            <a:srgbClr val="122C41"/>
          </a:solidFill>
          <a:latin typeface="+mn-lt"/>
          <a:ea typeface="+mn-ea"/>
          <a:cs typeface="Calibri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svg"/><Relationship Id="rId18" Type="http://schemas.openxmlformats.org/officeDocument/2006/relationships/image" Target="../media/image42.png"/><Relationship Id="rId3" Type="http://schemas.openxmlformats.org/officeDocument/2006/relationships/hyperlink" Target="https://www.cdc.gov/health-equity-chronic-disease/sdoh-and-chronic-disease/nccdphps-approach-to-social-determinants-of-health.html" TargetMode="External"/><Relationship Id="rId7" Type="http://schemas.openxmlformats.org/officeDocument/2006/relationships/image" Target="../media/image31.svg"/><Relationship Id="rId12" Type="http://schemas.openxmlformats.org/officeDocument/2006/relationships/image" Target="../media/image36.png"/><Relationship Id="rId17" Type="http://schemas.openxmlformats.org/officeDocument/2006/relationships/image" Target="../media/image41.png"/><Relationship Id="rId2" Type="http://schemas.openxmlformats.org/officeDocument/2006/relationships/hyperlink" Target="https://health.gov/healthypeople/priority-areas/social-determinants-health" TargetMode="External"/><Relationship Id="rId16" Type="http://schemas.openxmlformats.org/officeDocument/2006/relationships/image" Target="../media/image40.png"/><Relationship Id="rId20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png"/><Relationship Id="rId11" Type="http://schemas.openxmlformats.org/officeDocument/2006/relationships/image" Target="../media/image35.svg"/><Relationship Id="rId5" Type="http://schemas.openxmlformats.org/officeDocument/2006/relationships/image" Target="../media/image29.svg"/><Relationship Id="rId15" Type="http://schemas.openxmlformats.org/officeDocument/2006/relationships/image" Target="../media/image39.svg"/><Relationship Id="rId10" Type="http://schemas.openxmlformats.org/officeDocument/2006/relationships/image" Target="../media/image34.png"/><Relationship Id="rId19" Type="http://schemas.openxmlformats.org/officeDocument/2006/relationships/image" Target="../media/image43.png"/><Relationship Id="rId4" Type="http://schemas.openxmlformats.org/officeDocument/2006/relationships/image" Target="../media/image28.png"/><Relationship Id="rId9" Type="http://schemas.openxmlformats.org/officeDocument/2006/relationships/image" Target="../media/image33.svg"/><Relationship Id="rId14" Type="http://schemas.openxmlformats.org/officeDocument/2006/relationships/image" Target="../media/image3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svg"/><Relationship Id="rId18" Type="http://schemas.openxmlformats.org/officeDocument/2006/relationships/image" Target="../media/image60.png"/><Relationship Id="rId3" Type="http://schemas.openxmlformats.org/officeDocument/2006/relationships/image" Target="../media/image45.png"/><Relationship Id="rId21" Type="http://schemas.openxmlformats.org/officeDocument/2006/relationships/image" Target="../media/image63.svg"/><Relationship Id="rId7" Type="http://schemas.openxmlformats.org/officeDocument/2006/relationships/image" Target="../media/image49.svg"/><Relationship Id="rId12" Type="http://schemas.openxmlformats.org/officeDocument/2006/relationships/image" Target="../media/image54.png"/><Relationship Id="rId17" Type="http://schemas.openxmlformats.org/officeDocument/2006/relationships/image" Target="../media/image59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58.png"/><Relationship Id="rId20" Type="http://schemas.openxmlformats.org/officeDocument/2006/relationships/image" Target="../media/image6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8.png"/><Relationship Id="rId11" Type="http://schemas.openxmlformats.org/officeDocument/2006/relationships/image" Target="../media/image53.svg"/><Relationship Id="rId5" Type="http://schemas.openxmlformats.org/officeDocument/2006/relationships/image" Target="../media/image47.png"/><Relationship Id="rId15" Type="http://schemas.openxmlformats.org/officeDocument/2006/relationships/image" Target="../media/image57.svg"/><Relationship Id="rId23" Type="http://schemas.openxmlformats.org/officeDocument/2006/relationships/image" Target="../media/image65.svg"/><Relationship Id="rId10" Type="http://schemas.openxmlformats.org/officeDocument/2006/relationships/image" Target="../media/image52.png"/><Relationship Id="rId19" Type="http://schemas.openxmlformats.org/officeDocument/2006/relationships/image" Target="../media/image61.svg"/><Relationship Id="rId4" Type="http://schemas.openxmlformats.org/officeDocument/2006/relationships/image" Target="../media/image46.svg"/><Relationship Id="rId9" Type="http://schemas.openxmlformats.org/officeDocument/2006/relationships/image" Target="../media/image51.svg"/><Relationship Id="rId14" Type="http://schemas.openxmlformats.org/officeDocument/2006/relationships/image" Target="../media/image56.png"/><Relationship Id="rId22" Type="http://schemas.openxmlformats.org/officeDocument/2006/relationships/image" Target="../media/image6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svg"/><Relationship Id="rId13" Type="http://schemas.openxmlformats.org/officeDocument/2006/relationships/image" Target="../media/image76.png"/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12" Type="http://schemas.openxmlformats.org/officeDocument/2006/relationships/image" Target="../media/image75.sv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79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9.svg"/><Relationship Id="rId11" Type="http://schemas.openxmlformats.org/officeDocument/2006/relationships/image" Target="../media/image74.png"/><Relationship Id="rId5" Type="http://schemas.openxmlformats.org/officeDocument/2006/relationships/image" Target="../media/image68.png"/><Relationship Id="rId15" Type="http://schemas.openxmlformats.org/officeDocument/2006/relationships/image" Target="../media/image78.png"/><Relationship Id="rId10" Type="http://schemas.openxmlformats.org/officeDocument/2006/relationships/image" Target="../media/image73.svg"/><Relationship Id="rId4" Type="http://schemas.openxmlformats.org/officeDocument/2006/relationships/image" Target="../media/image67.svg"/><Relationship Id="rId9" Type="http://schemas.openxmlformats.org/officeDocument/2006/relationships/image" Target="../media/image72.png"/><Relationship Id="rId14" Type="http://schemas.openxmlformats.org/officeDocument/2006/relationships/image" Target="../media/image77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982" y="2956559"/>
            <a:ext cx="12178018" cy="1064577"/>
          </a:xfrm>
        </p:spPr>
        <p:txBody>
          <a:bodyPr>
            <a:normAutofit fontScale="90000"/>
          </a:bodyPr>
          <a:lstStyle/>
          <a:p>
            <a:pPr algn="ctr">
              <a:lnSpc>
                <a:spcPts val="2300"/>
              </a:lnSpc>
              <a:spcBef>
                <a:spcPts val="600"/>
              </a:spcBef>
            </a:pPr>
            <a:r>
              <a:rPr lang="en-US">
                <a:solidFill>
                  <a:srgbClr val="0F3858"/>
                </a:solidFill>
              </a:rPr>
              <a:t>Karen Hacker, MD, MPH</a:t>
            </a:r>
            <a:br>
              <a:rPr lang="en-US">
                <a:solidFill>
                  <a:srgbClr val="0F3858"/>
                </a:solidFill>
              </a:rPr>
            </a:br>
            <a:r>
              <a:rPr lang="en-US">
                <a:solidFill>
                  <a:srgbClr val="0F3858"/>
                </a:solidFill>
              </a:rPr>
              <a:t>Director, National Center for Chronic Disease and Health Promotion, CDC </a:t>
            </a:r>
            <a:br>
              <a:rPr lang="en-US">
                <a:solidFill>
                  <a:srgbClr val="0F3858"/>
                </a:solidFill>
              </a:rPr>
            </a:br>
            <a:r>
              <a:rPr lang="en-US">
                <a:solidFill>
                  <a:srgbClr val="0F3858"/>
                </a:solidFill>
              </a:rPr>
              <a:t>USA</a:t>
            </a:r>
            <a:endParaRPr lang="fr-FR">
              <a:solidFill>
                <a:srgbClr val="0F3858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3981" y="1153321"/>
            <a:ext cx="12192000" cy="1447639"/>
          </a:xfrm>
        </p:spPr>
        <p:txBody>
          <a:bodyPr/>
          <a:lstStyle/>
          <a:p>
            <a:pPr marL="0" indent="0" algn="ctr">
              <a:buNone/>
            </a:pPr>
            <a:r>
              <a:rPr lang="en-US" b="1" spc="300">
                <a:solidFill>
                  <a:srgbClr val="5AAE45"/>
                </a:solidFill>
              </a:rPr>
              <a:t>Equity and Health</a:t>
            </a:r>
          </a:p>
          <a:p>
            <a:pPr marL="0" indent="0" algn="ctr">
              <a:buNone/>
            </a:pPr>
            <a:r>
              <a:rPr lang="en-US" b="1" spc="300">
                <a:solidFill>
                  <a:srgbClr val="5AAE45"/>
                </a:solidFill>
              </a:rPr>
              <a:t>Tackling Social Determinants of Health</a:t>
            </a:r>
          </a:p>
          <a:p>
            <a:pPr algn="ctr"/>
            <a:endParaRPr lang="fr-FR"/>
          </a:p>
        </p:txBody>
      </p:sp>
      <p:pic>
        <p:nvPicPr>
          <p:cNvPr id="6" name="Image 5" descr="Une image contenant texte, Police, Graphique, capture d’écran&#10;&#10;Description générée automatiquement">
            <a:extLst>
              <a:ext uri="{FF2B5EF4-FFF2-40B4-BE49-F238E27FC236}">
                <a16:creationId xmlns:a16="http://schemas.microsoft.com/office/drawing/2014/main" id="{161EF461-F1AF-B96F-B9C7-0FDC97DAEA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45" y="4698347"/>
            <a:ext cx="12182354" cy="2158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0313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E9A144-20F9-D4A8-C163-D2244E3E2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79576"/>
          </a:xfrm>
        </p:spPr>
        <p:txBody>
          <a:bodyPr>
            <a:normAutofit/>
          </a:bodyPr>
          <a:lstStyle/>
          <a:p>
            <a:pPr algn="ctr"/>
            <a:r>
              <a:rPr lang="en-US"/>
              <a:t>DEPARTMENT OF HEALTH AND HUMAN SERVICES </a:t>
            </a:r>
            <a:br>
              <a:rPr lang="en-US"/>
            </a:br>
            <a:r>
              <a:rPr lang="en-US"/>
              <a:t>CENTERS FOR DISEASE CONTROL AND PREVENTION (CDC)</a:t>
            </a:r>
          </a:p>
        </p:txBody>
      </p:sp>
      <p:pic>
        <p:nvPicPr>
          <p:cNvPr id="5" name="Picture 4" descr="Diagram&#10;&#10;Description automatically generated">
            <a:extLst>
              <a:ext uri="{FF2B5EF4-FFF2-40B4-BE49-F238E27FC236}">
                <a16:creationId xmlns:a16="http://schemas.microsoft.com/office/drawing/2014/main" id="{F20F6763-52E8-4091-A2B6-BE50098A93D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880"/>
          <a:stretch/>
        </p:blipFill>
        <p:spPr>
          <a:xfrm>
            <a:off x="759081" y="1298448"/>
            <a:ext cx="10673838" cy="510171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589B175-A355-B265-AF4A-1202F8DE0906}"/>
              </a:ext>
            </a:extLst>
          </p:cNvPr>
          <p:cNvSpPr/>
          <p:nvPr/>
        </p:nvSpPr>
        <p:spPr>
          <a:xfrm>
            <a:off x="7123176" y="4992624"/>
            <a:ext cx="1051560" cy="135331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8408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63" name="Rectangle 62">
            <a:extLst>
              <a:ext uri="{FF2B5EF4-FFF2-40B4-BE49-F238E27FC236}">
                <a16:creationId xmlns:a16="http://schemas.microsoft.com/office/drawing/2014/main" id="{3BA513B0-82FF-4F41-8178-885375D1CF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Content Placeholder 7" descr="A group of people posing for a photo&#10;&#10;Description automatically generated with medium confidence">
            <a:extLst>
              <a:ext uri="{FF2B5EF4-FFF2-40B4-BE49-F238E27FC236}">
                <a16:creationId xmlns:a16="http://schemas.microsoft.com/office/drawing/2014/main" id="{A12A7C0D-2C86-47BD-9303-0A8689404E1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0558" r="-1" b="14201"/>
          <a:stretch/>
        </p:blipFill>
        <p:spPr>
          <a:xfrm>
            <a:off x="-1" y="10"/>
            <a:ext cx="12228129" cy="4666928"/>
          </a:xfrm>
          <a:prstGeom prst="rect">
            <a:avLst/>
          </a:prstGeom>
        </p:spPr>
      </p:pic>
      <p:grpSp>
        <p:nvGrpSpPr>
          <p:cNvPr id="64" name="Group 63">
            <a:extLst>
              <a:ext uri="{FF2B5EF4-FFF2-40B4-BE49-F238E27FC236}">
                <a16:creationId xmlns:a16="http://schemas.microsoft.com/office/drawing/2014/main" id="{93DB8501-F9F2-4ACD-B56A-9019CD5006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305" y="2987478"/>
            <a:ext cx="12228128" cy="1828800"/>
            <a:chOff x="-305" y="2987478"/>
            <a:chExt cx="12188952" cy="1828800"/>
          </a:xfrm>
        </p:grpSpPr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DD03A94A-ADF5-4334-86B1-DBA5F70ACD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2987478"/>
              <a:ext cx="12188952" cy="1099712"/>
            </a:xfrm>
            <a:custGeom>
              <a:avLst/>
              <a:gdLst>
                <a:gd name="connsiteX0" fmla="*/ 9182100 w 9182100"/>
                <a:gd name="connsiteY0" fmla="*/ 396420 h 932744"/>
                <a:gd name="connsiteX1" fmla="*/ 9103805 w 9182100"/>
                <a:gd name="connsiteY1" fmla="*/ 392229 h 932744"/>
                <a:gd name="connsiteX2" fmla="*/ 8712422 w 9182100"/>
                <a:gd name="connsiteY2" fmla="*/ 359749 h 932744"/>
                <a:gd name="connsiteX3" fmla="*/ 8322755 w 9182100"/>
                <a:gd name="connsiteY3" fmla="*/ 313362 h 932744"/>
                <a:gd name="connsiteX4" fmla="*/ 8134826 w 9182100"/>
                <a:gd name="connsiteY4" fmla="*/ 283930 h 932744"/>
                <a:gd name="connsiteX5" fmla="*/ 8090916 w 9182100"/>
                <a:gd name="connsiteY5" fmla="*/ 275643 h 932744"/>
                <a:gd name="connsiteX6" fmla="*/ 8069485 w 9182100"/>
                <a:gd name="connsiteY6" fmla="*/ 271262 h 932744"/>
                <a:gd name="connsiteX7" fmla="*/ 8041862 w 9182100"/>
                <a:gd name="connsiteY7" fmla="*/ 266595 h 932744"/>
                <a:gd name="connsiteX8" fmla="*/ 7986903 w 9182100"/>
                <a:gd name="connsiteY8" fmla="*/ 257546 h 932744"/>
                <a:gd name="connsiteX9" fmla="*/ 7934230 w 9182100"/>
                <a:gd name="connsiteY9" fmla="*/ 249640 h 932744"/>
                <a:gd name="connsiteX10" fmla="*/ 7727537 w 9182100"/>
                <a:gd name="connsiteY10" fmla="*/ 221922 h 932744"/>
                <a:gd name="connsiteX11" fmla="*/ 7625239 w 9182100"/>
                <a:gd name="connsiteY11" fmla="*/ 209730 h 932744"/>
                <a:gd name="connsiteX12" fmla="*/ 7523227 w 9182100"/>
                <a:gd name="connsiteY12" fmla="*/ 198110 h 932744"/>
                <a:gd name="connsiteX13" fmla="*/ 7115651 w 9182100"/>
                <a:gd name="connsiteY13" fmla="*/ 158010 h 932744"/>
                <a:gd name="connsiteX14" fmla="*/ 6706839 w 9182100"/>
                <a:gd name="connsiteY14" fmla="*/ 126958 h 932744"/>
                <a:gd name="connsiteX15" fmla="*/ 6604064 w 9182100"/>
                <a:gd name="connsiteY15" fmla="*/ 120862 h 932744"/>
                <a:gd name="connsiteX16" fmla="*/ 6501003 w 9182100"/>
                <a:gd name="connsiteY16" fmla="*/ 115338 h 932744"/>
                <a:gd name="connsiteX17" fmla="*/ 6397467 w 9182100"/>
                <a:gd name="connsiteY17" fmla="*/ 110385 h 932744"/>
                <a:gd name="connsiteX18" fmla="*/ 6293168 w 9182100"/>
                <a:gd name="connsiteY18" fmla="*/ 106860 h 932744"/>
                <a:gd name="connsiteX19" fmla="*/ 6079712 w 9182100"/>
                <a:gd name="connsiteY19" fmla="*/ 103908 h 932744"/>
                <a:gd name="connsiteX20" fmla="*/ 6024563 w 9182100"/>
                <a:gd name="connsiteY20" fmla="*/ 104479 h 932744"/>
                <a:gd name="connsiteX21" fmla="*/ 5968080 w 9182100"/>
                <a:gd name="connsiteY21" fmla="*/ 106479 h 932744"/>
                <a:gd name="connsiteX22" fmla="*/ 5855875 w 9182100"/>
                <a:gd name="connsiteY22" fmla="*/ 113242 h 932744"/>
                <a:gd name="connsiteX23" fmla="*/ 5439251 w 9182100"/>
                <a:gd name="connsiteY23" fmla="*/ 160105 h 932744"/>
                <a:gd name="connsiteX24" fmla="*/ 5075396 w 9182100"/>
                <a:gd name="connsiteY24" fmla="*/ 186585 h 932744"/>
                <a:gd name="connsiteX25" fmla="*/ 4712780 w 9182100"/>
                <a:gd name="connsiteY25" fmla="*/ 171249 h 932744"/>
                <a:gd name="connsiteX26" fmla="*/ 4666679 w 9182100"/>
                <a:gd name="connsiteY26" fmla="*/ 166773 h 932744"/>
                <a:gd name="connsiteX27" fmla="*/ 4620292 w 9182100"/>
                <a:gd name="connsiteY27" fmla="*/ 161629 h 932744"/>
                <a:gd name="connsiteX28" fmla="*/ 4573810 w 9182100"/>
                <a:gd name="connsiteY28" fmla="*/ 156009 h 932744"/>
                <a:gd name="connsiteX29" fmla="*/ 4550569 w 9182100"/>
                <a:gd name="connsiteY29" fmla="*/ 153057 h 932744"/>
                <a:gd name="connsiteX30" fmla="*/ 4538948 w 9182100"/>
                <a:gd name="connsiteY30" fmla="*/ 151628 h 932744"/>
                <a:gd name="connsiteX31" fmla="*/ 4526566 w 9182100"/>
                <a:gd name="connsiteY31" fmla="*/ 149913 h 932744"/>
                <a:gd name="connsiteX32" fmla="*/ 4327779 w 9182100"/>
                <a:gd name="connsiteY32" fmla="*/ 122862 h 932744"/>
                <a:gd name="connsiteX33" fmla="*/ 3929729 w 9182100"/>
                <a:gd name="connsiteY33" fmla="*/ 68189 h 932744"/>
                <a:gd name="connsiteX34" fmla="*/ 3729133 w 9182100"/>
                <a:gd name="connsiteY34" fmla="*/ 41900 h 932744"/>
                <a:gd name="connsiteX35" fmla="*/ 3628930 w 9182100"/>
                <a:gd name="connsiteY35" fmla="*/ 28946 h 932744"/>
                <a:gd name="connsiteX36" fmla="*/ 3573399 w 9182100"/>
                <a:gd name="connsiteY36" fmla="*/ 22278 h 932744"/>
                <a:gd name="connsiteX37" fmla="*/ 3516916 w 9182100"/>
                <a:gd name="connsiteY37" fmla="*/ 16468 h 932744"/>
                <a:gd name="connsiteX38" fmla="*/ 3074670 w 9182100"/>
                <a:gd name="connsiteY38" fmla="*/ 752 h 932744"/>
                <a:gd name="connsiteX39" fmla="*/ 2858738 w 9182100"/>
                <a:gd name="connsiteY39" fmla="*/ 8753 h 932744"/>
                <a:gd name="connsiteX40" fmla="*/ 2645474 w 9182100"/>
                <a:gd name="connsiteY40" fmla="*/ 25326 h 932744"/>
                <a:gd name="connsiteX41" fmla="*/ 1810798 w 9182100"/>
                <a:gd name="connsiteY41" fmla="*/ 158010 h 932744"/>
                <a:gd name="connsiteX42" fmla="*/ 1602772 w 9182100"/>
                <a:gd name="connsiteY42" fmla="*/ 208111 h 932744"/>
                <a:gd name="connsiteX43" fmla="*/ 1548860 w 9182100"/>
                <a:gd name="connsiteY43" fmla="*/ 222780 h 932744"/>
                <a:gd name="connsiteX44" fmla="*/ 1501331 w 9182100"/>
                <a:gd name="connsiteY44" fmla="*/ 236115 h 932744"/>
                <a:gd name="connsiteX45" fmla="*/ 1411224 w 9182100"/>
                <a:gd name="connsiteY45" fmla="*/ 260880 h 932744"/>
                <a:gd name="connsiteX46" fmla="*/ 1050893 w 9182100"/>
                <a:gd name="connsiteY46" fmla="*/ 338032 h 932744"/>
                <a:gd name="connsiteX47" fmla="*/ 871252 w 9182100"/>
                <a:gd name="connsiteY47" fmla="*/ 360511 h 932744"/>
                <a:gd name="connsiteX48" fmla="*/ 781812 w 9182100"/>
                <a:gd name="connsiteY48" fmla="*/ 366512 h 932744"/>
                <a:gd name="connsiteX49" fmla="*/ 692563 w 9182100"/>
                <a:gd name="connsiteY49" fmla="*/ 369655 h 932744"/>
                <a:gd name="connsiteX50" fmla="*/ 515017 w 9182100"/>
                <a:gd name="connsiteY50" fmla="*/ 363940 h 932744"/>
                <a:gd name="connsiteX51" fmla="*/ 337661 w 9182100"/>
                <a:gd name="connsiteY51" fmla="*/ 341937 h 932744"/>
                <a:gd name="connsiteX52" fmla="*/ 156972 w 9182100"/>
                <a:gd name="connsiteY52" fmla="*/ 303456 h 932744"/>
                <a:gd name="connsiteX53" fmla="*/ 0 w 9182100"/>
                <a:gd name="connsiteY53" fmla="*/ 261642 h 932744"/>
                <a:gd name="connsiteX54" fmla="*/ 0 w 9182100"/>
                <a:gd name="connsiteY54" fmla="*/ 713412 h 932744"/>
                <a:gd name="connsiteX55" fmla="*/ 9144 w 9182100"/>
                <a:gd name="connsiteY55" fmla="*/ 717699 h 932744"/>
                <a:gd name="connsiteX56" fmla="*/ 213360 w 9182100"/>
                <a:gd name="connsiteY56" fmla="*/ 801042 h 932744"/>
                <a:gd name="connsiteX57" fmla="*/ 653510 w 9182100"/>
                <a:gd name="connsiteY57" fmla="*/ 908199 h 932744"/>
                <a:gd name="connsiteX58" fmla="*/ 1101947 w 9182100"/>
                <a:gd name="connsiteY58" fmla="*/ 930773 h 932744"/>
                <a:gd name="connsiteX59" fmla="*/ 1540002 w 9182100"/>
                <a:gd name="connsiteY59" fmla="*/ 889434 h 932744"/>
                <a:gd name="connsiteX60" fmla="*/ 1647158 w 9182100"/>
                <a:gd name="connsiteY60" fmla="*/ 871242 h 932744"/>
                <a:gd name="connsiteX61" fmla="*/ 1698117 w 9182100"/>
                <a:gd name="connsiteY61" fmla="*/ 862193 h 932744"/>
                <a:gd name="connsiteX62" fmla="*/ 1742789 w 9182100"/>
                <a:gd name="connsiteY62" fmla="*/ 854668 h 932744"/>
                <a:gd name="connsiteX63" fmla="*/ 1931003 w 9182100"/>
                <a:gd name="connsiteY63" fmla="*/ 826950 h 932744"/>
                <a:gd name="connsiteX64" fmla="*/ 2314861 w 9182100"/>
                <a:gd name="connsiteY64" fmla="*/ 783897 h 932744"/>
                <a:gd name="connsiteX65" fmla="*/ 2506885 w 9182100"/>
                <a:gd name="connsiteY65" fmla="*/ 768086 h 932744"/>
                <a:gd name="connsiteX66" fmla="*/ 2602611 w 9182100"/>
                <a:gd name="connsiteY66" fmla="*/ 762085 h 932744"/>
                <a:gd name="connsiteX67" fmla="*/ 2698052 w 9182100"/>
                <a:gd name="connsiteY67" fmla="*/ 756846 h 932744"/>
                <a:gd name="connsiteX68" fmla="*/ 2887980 w 9182100"/>
                <a:gd name="connsiteY68" fmla="*/ 750846 h 932744"/>
                <a:gd name="connsiteX69" fmla="*/ 3075813 w 9182100"/>
                <a:gd name="connsiteY69" fmla="*/ 750179 h 932744"/>
                <a:gd name="connsiteX70" fmla="*/ 3168587 w 9182100"/>
                <a:gd name="connsiteY70" fmla="*/ 752751 h 932744"/>
                <a:gd name="connsiteX71" fmla="*/ 3260408 w 9182100"/>
                <a:gd name="connsiteY71" fmla="*/ 756656 h 932744"/>
                <a:gd name="connsiteX72" fmla="*/ 3440049 w 9182100"/>
                <a:gd name="connsiteY72" fmla="*/ 771610 h 932744"/>
                <a:gd name="connsiteX73" fmla="*/ 3483864 w 9182100"/>
                <a:gd name="connsiteY73" fmla="*/ 776849 h 932744"/>
                <a:gd name="connsiteX74" fmla="*/ 3528536 w 9182100"/>
                <a:gd name="connsiteY74" fmla="*/ 782469 h 932744"/>
                <a:gd name="connsiteX75" fmla="*/ 3628549 w 9182100"/>
                <a:gd name="connsiteY75" fmla="*/ 796089 h 932744"/>
                <a:gd name="connsiteX76" fmla="*/ 3828574 w 9182100"/>
                <a:gd name="connsiteY76" fmla="*/ 823140 h 932744"/>
                <a:gd name="connsiteX77" fmla="*/ 4231196 w 9182100"/>
                <a:gd name="connsiteY77" fmla="*/ 874099 h 932744"/>
                <a:gd name="connsiteX78" fmla="*/ 4433126 w 9182100"/>
                <a:gd name="connsiteY78" fmla="*/ 897435 h 932744"/>
                <a:gd name="connsiteX79" fmla="*/ 4485990 w 9182100"/>
                <a:gd name="connsiteY79" fmla="*/ 903246 h 932744"/>
                <a:gd name="connsiteX80" fmla="*/ 4539806 w 9182100"/>
                <a:gd name="connsiteY80" fmla="*/ 908961 h 932744"/>
                <a:gd name="connsiteX81" fmla="*/ 4593908 w 9182100"/>
                <a:gd name="connsiteY81" fmla="*/ 914199 h 932744"/>
                <a:gd name="connsiteX82" fmla="*/ 4648296 w 9182100"/>
                <a:gd name="connsiteY82" fmla="*/ 918771 h 932744"/>
                <a:gd name="connsiteX83" fmla="*/ 5092446 w 9182100"/>
                <a:gd name="connsiteY83" fmla="*/ 931154 h 932744"/>
                <a:gd name="connsiteX84" fmla="*/ 5533168 w 9182100"/>
                <a:gd name="connsiteY84" fmla="*/ 891816 h 932744"/>
                <a:gd name="connsiteX85" fmla="*/ 5918169 w 9182100"/>
                <a:gd name="connsiteY85" fmla="*/ 840666 h 932744"/>
                <a:gd name="connsiteX86" fmla="*/ 6007323 w 9182100"/>
                <a:gd name="connsiteY86" fmla="*/ 833237 h 932744"/>
                <a:gd name="connsiteX87" fmla="*/ 6051709 w 9182100"/>
                <a:gd name="connsiteY87" fmla="*/ 830570 h 932744"/>
                <a:gd name="connsiteX88" fmla="*/ 6097429 w 9182100"/>
                <a:gd name="connsiteY88" fmla="*/ 828379 h 932744"/>
                <a:gd name="connsiteX89" fmla="*/ 6287834 w 9182100"/>
                <a:gd name="connsiteY89" fmla="*/ 822569 h 932744"/>
                <a:gd name="connsiteX90" fmla="*/ 6681597 w 9182100"/>
                <a:gd name="connsiteY90" fmla="*/ 821235 h 932744"/>
                <a:gd name="connsiteX91" fmla="*/ 7079647 w 9182100"/>
                <a:gd name="connsiteY91" fmla="*/ 826569 h 932744"/>
                <a:gd name="connsiteX92" fmla="*/ 7478173 w 9182100"/>
                <a:gd name="connsiteY92" fmla="*/ 836094 h 932744"/>
                <a:gd name="connsiteX93" fmla="*/ 7871937 w 9182100"/>
                <a:gd name="connsiteY93" fmla="*/ 851430 h 932744"/>
                <a:gd name="connsiteX94" fmla="*/ 7919657 w 9182100"/>
                <a:gd name="connsiteY94" fmla="*/ 854097 h 932744"/>
                <a:gd name="connsiteX95" fmla="*/ 7964901 w 9182100"/>
                <a:gd name="connsiteY95" fmla="*/ 857240 h 932744"/>
                <a:gd name="connsiteX96" fmla="*/ 8015955 w 9182100"/>
                <a:gd name="connsiteY96" fmla="*/ 861050 h 932744"/>
                <a:gd name="connsiteX97" fmla="*/ 8072247 w 9182100"/>
                <a:gd name="connsiteY97" fmla="*/ 864384 h 932744"/>
                <a:gd name="connsiteX98" fmla="*/ 8286750 w 9182100"/>
                <a:gd name="connsiteY98" fmla="*/ 868384 h 932744"/>
                <a:gd name="connsiteX99" fmla="*/ 8704040 w 9182100"/>
                <a:gd name="connsiteY99" fmla="*/ 853716 h 932744"/>
                <a:gd name="connsiteX100" fmla="*/ 9120188 w 9182100"/>
                <a:gd name="connsiteY100" fmla="*/ 814092 h 932744"/>
                <a:gd name="connsiteX101" fmla="*/ 9181909 w 9182100"/>
                <a:gd name="connsiteY101" fmla="*/ 805519 h 932744"/>
                <a:gd name="connsiteX102" fmla="*/ 9181909 w 9182100"/>
                <a:gd name="connsiteY102" fmla="*/ 396420 h 932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9182100" h="932744">
                  <a:moveTo>
                    <a:pt x="9182100" y="396420"/>
                  </a:moveTo>
                  <a:cubicBezTo>
                    <a:pt x="9156097" y="395182"/>
                    <a:pt x="9129999" y="393753"/>
                    <a:pt x="9103805" y="392229"/>
                  </a:cubicBezTo>
                  <a:cubicBezTo>
                    <a:pt x="8974169" y="384419"/>
                    <a:pt x="8843105" y="372989"/>
                    <a:pt x="8712422" y="359749"/>
                  </a:cubicBezTo>
                  <a:cubicBezTo>
                    <a:pt x="8581739" y="346319"/>
                    <a:pt x="8451056" y="331269"/>
                    <a:pt x="8322755" y="313362"/>
                  </a:cubicBezTo>
                  <a:cubicBezTo>
                    <a:pt x="8258747" y="304695"/>
                    <a:pt x="8195120" y="294979"/>
                    <a:pt x="8134826" y="283930"/>
                  </a:cubicBezTo>
                  <a:cubicBezTo>
                    <a:pt x="8119872" y="281168"/>
                    <a:pt x="8105013" y="278501"/>
                    <a:pt x="8090916" y="275643"/>
                  </a:cubicBezTo>
                  <a:lnTo>
                    <a:pt x="8069485" y="271262"/>
                  </a:lnTo>
                  <a:lnTo>
                    <a:pt x="8041862" y="266595"/>
                  </a:lnTo>
                  <a:cubicBezTo>
                    <a:pt x="8023574" y="263547"/>
                    <a:pt x="8004524" y="260213"/>
                    <a:pt x="7986903" y="257546"/>
                  </a:cubicBezTo>
                  <a:lnTo>
                    <a:pt x="7934230" y="249640"/>
                  </a:lnTo>
                  <a:cubicBezTo>
                    <a:pt x="7864221" y="239258"/>
                    <a:pt x="7795832" y="230209"/>
                    <a:pt x="7727537" y="221922"/>
                  </a:cubicBezTo>
                  <a:lnTo>
                    <a:pt x="7625239" y="209730"/>
                  </a:lnTo>
                  <a:lnTo>
                    <a:pt x="7523227" y="198110"/>
                  </a:lnTo>
                  <a:cubicBezTo>
                    <a:pt x="7387209" y="183060"/>
                    <a:pt x="7251573" y="170392"/>
                    <a:pt x="7115651" y="158010"/>
                  </a:cubicBezTo>
                  <a:cubicBezTo>
                    <a:pt x="6979730" y="146580"/>
                    <a:pt x="6843522" y="135721"/>
                    <a:pt x="6706839" y="126958"/>
                  </a:cubicBezTo>
                  <a:lnTo>
                    <a:pt x="6604064" y="120862"/>
                  </a:lnTo>
                  <a:cubicBezTo>
                    <a:pt x="6569869" y="118767"/>
                    <a:pt x="6535484" y="116862"/>
                    <a:pt x="6501003" y="115338"/>
                  </a:cubicBezTo>
                  <a:lnTo>
                    <a:pt x="6397467" y="110385"/>
                  </a:lnTo>
                  <a:lnTo>
                    <a:pt x="6293168" y="106860"/>
                  </a:lnTo>
                  <a:cubicBezTo>
                    <a:pt x="6222969" y="105146"/>
                    <a:pt x="6152769" y="103527"/>
                    <a:pt x="6079712" y="103908"/>
                  </a:cubicBezTo>
                  <a:cubicBezTo>
                    <a:pt x="6061710" y="103908"/>
                    <a:pt x="6043708" y="103812"/>
                    <a:pt x="6024563" y="104479"/>
                  </a:cubicBezTo>
                  <a:cubicBezTo>
                    <a:pt x="6005703" y="104955"/>
                    <a:pt x="5986844" y="105527"/>
                    <a:pt x="5968080" y="106479"/>
                  </a:cubicBezTo>
                  <a:cubicBezTo>
                    <a:pt x="5930456" y="108003"/>
                    <a:pt x="5893023" y="110385"/>
                    <a:pt x="5855875" y="113242"/>
                  </a:cubicBezTo>
                  <a:cubicBezTo>
                    <a:pt x="5706904" y="124577"/>
                    <a:pt x="5565934" y="145151"/>
                    <a:pt x="5439251" y="160105"/>
                  </a:cubicBezTo>
                  <a:cubicBezTo>
                    <a:pt x="5311902" y="175536"/>
                    <a:pt x="5194745" y="184680"/>
                    <a:pt x="5075396" y="186585"/>
                  </a:cubicBezTo>
                  <a:cubicBezTo>
                    <a:pt x="4956429" y="188490"/>
                    <a:pt x="4835748" y="182775"/>
                    <a:pt x="4712780" y="171249"/>
                  </a:cubicBezTo>
                  <a:lnTo>
                    <a:pt x="4666679" y="166773"/>
                  </a:lnTo>
                  <a:lnTo>
                    <a:pt x="4620292" y="161629"/>
                  </a:lnTo>
                  <a:cubicBezTo>
                    <a:pt x="4604862" y="160010"/>
                    <a:pt x="4589336" y="157914"/>
                    <a:pt x="4573810" y="156009"/>
                  </a:cubicBezTo>
                  <a:lnTo>
                    <a:pt x="4550569" y="153057"/>
                  </a:lnTo>
                  <a:lnTo>
                    <a:pt x="4538948" y="151628"/>
                  </a:lnTo>
                  <a:lnTo>
                    <a:pt x="4526566" y="149913"/>
                  </a:lnTo>
                  <a:lnTo>
                    <a:pt x="4327779" y="122862"/>
                  </a:lnTo>
                  <a:lnTo>
                    <a:pt x="3929729" y="68189"/>
                  </a:lnTo>
                  <a:lnTo>
                    <a:pt x="3729133" y="41900"/>
                  </a:lnTo>
                  <a:lnTo>
                    <a:pt x="3628930" y="28946"/>
                  </a:lnTo>
                  <a:lnTo>
                    <a:pt x="3573399" y="22278"/>
                  </a:lnTo>
                  <a:cubicBezTo>
                    <a:pt x="3554445" y="19992"/>
                    <a:pt x="3535585" y="17992"/>
                    <a:pt x="3516916" y="16468"/>
                  </a:cubicBezTo>
                  <a:cubicBezTo>
                    <a:pt x="3366611" y="2752"/>
                    <a:pt x="3219736" y="-2010"/>
                    <a:pt x="3074670" y="752"/>
                  </a:cubicBezTo>
                  <a:cubicBezTo>
                    <a:pt x="3002280" y="2181"/>
                    <a:pt x="2930176" y="4467"/>
                    <a:pt x="2858738" y="8753"/>
                  </a:cubicBezTo>
                  <a:cubicBezTo>
                    <a:pt x="2787206" y="13039"/>
                    <a:pt x="2716149" y="18754"/>
                    <a:pt x="2645474" y="25326"/>
                  </a:cubicBezTo>
                  <a:cubicBezTo>
                    <a:pt x="2362581" y="52473"/>
                    <a:pt x="2085975" y="97145"/>
                    <a:pt x="1810798" y="158010"/>
                  </a:cubicBezTo>
                  <a:cubicBezTo>
                    <a:pt x="1741837" y="173345"/>
                    <a:pt x="1673066" y="189442"/>
                    <a:pt x="1602772" y="208111"/>
                  </a:cubicBezTo>
                  <a:lnTo>
                    <a:pt x="1548860" y="222780"/>
                  </a:lnTo>
                  <a:lnTo>
                    <a:pt x="1501331" y="236115"/>
                  </a:lnTo>
                  <a:cubicBezTo>
                    <a:pt x="1471327" y="244497"/>
                    <a:pt x="1441228" y="253450"/>
                    <a:pt x="1411224" y="260880"/>
                  </a:cubicBezTo>
                  <a:cubicBezTo>
                    <a:pt x="1291209" y="293074"/>
                    <a:pt x="1170813" y="318982"/>
                    <a:pt x="1050893" y="338032"/>
                  </a:cubicBezTo>
                  <a:cubicBezTo>
                    <a:pt x="990790" y="347557"/>
                    <a:pt x="931069" y="354796"/>
                    <a:pt x="871252" y="360511"/>
                  </a:cubicBezTo>
                  <a:cubicBezTo>
                    <a:pt x="841438" y="362702"/>
                    <a:pt x="811530" y="365559"/>
                    <a:pt x="781812" y="366512"/>
                  </a:cubicBezTo>
                  <a:cubicBezTo>
                    <a:pt x="751904" y="368512"/>
                    <a:pt x="722376" y="368893"/>
                    <a:pt x="692563" y="369655"/>
                  </a:cubicBezTo>
                  <a:cubicBezTo>
                    <a:pt x="633222" y="370036"/>
                    <a:pt x="574167" y="368131"/>
                    <a:pt x="515017" y="363940"/>
                  </a:cubicBezTo>
                  <a:cubicBezTo>
                    <a:pt x="455867" y="359749"/>
                    <a:pt x="397097" y="351748"/>
                    <a:pt x="337661" y="341937"/>
                  </a:cubicBezTo>
                  <a:cubicBezTo>
                    <a:pt x="278225" y="331936"/>
                    <a:pt x="218599" y="318696"/>
                    <a:pt x="156972" y="303456"/>
                  </a:cubicBezTo>
                  <a:cubicBezTo>
                    <a:pt x="106680" y="290883"/>
                    <a:pt x="55150" y="276405"/>
                    <a:pt x="0" y="261642"/>
                  </a:cubicBezTo>
                  <a:lnTo>
                    <a:pt x="0" y="713412"/>
                  </a:lnTo>
                  <a:cubicBezTo>
                    <a:pt x="3048" y="714841"/>
                    <a:pt x="6096" y="716270"/>
                    <a:pt x="9144" y="717699"/>
                  </a:cubicBezTo>
                  <a:cubicBezTo>
                    <a:pt x="74295" y="747798"/>
                    <a:pt x="142875" y="775896"/>
                    <a:pt x="213360" y="801042"/>
                  </a:cubicBezTo>
                  <a:cubicBezTo>
                    <a:pt x="354521" y="851715"/>
                    <a:pt x="503873" y="887244"/>
                    <a:pt x="653510" y="908199"/>
                  </a:cubicBezTo>
                  <a:cubicBezTo>
                    <a:pt x="803338" y="928773"/>
                    <a:pt x="953929" y="935631"/>
                    <a:pt x="1101947" y="930773"/>
                  </a:cubicBezTo>
                  <a:cubicBezTo>
                    <a:pt x="1250252" y="926582"/>
                    <a:pt x="1396365" y="911437"/>
                    <a:pt x="1540002" y="889434"/>
                  </a:cubicBezTo>
                  <a:cubicBezTo>
                    <a:pt x="1576197" y="884386"/>
                    <a:pt x="1611535" y="877433"/>
                    <a:pt x="1647158" y="871242"/>
                  </a:cubicBezTo>
                  <a:lnTo>
                    <a:pt x="1698117" y="862193"/>
                  </a:lnTo>
                  <a:lnTo>
                    <a:pt x="1742789" y="854668"/>
                  </a:lnTo>
                  <a:cubicBezTo>
                    <a:pt x="1804035" y="845048"/>
                    <a:pt x="1867472" y="835428"/>
                    <a:pt x="1931003" y="826950"/>
                  </a:cubicBezTo>
                  <a:cubicBezTo>
                    <a:pt x="2058353" y="810282"/>
                    <a:pt x="2186750" y="795327"/>
                    <a:pt x="2314861" y="783897"/>
                  </a:cubicBezTo>
                  <a:cubicBezTo>
                    <a:pt x="2378964" y="778087"/>
                    <a:pt x="2442972" y="772467"/>
                    <a:pt x="2506885" y="768086"/>
                  </a:cubicBezTo>
                  <a:cubicBezTo>
                    <a:pt x="2538794" y="765990"/>
                    <a:pt x="2570798" y="763800"/>
                    <a:pt x="2602611" y="762085"/>
                  </a:cubicBezTo>
                  <a:cubicBezTo>
                    <a:pt x="2634520" y="760180"/>
                    <a:pt x="2666333" y="758370"/>
                    <a:pt x="2698052" y="756846"/>
                  </a:cubicBezTo>
                  <a:cubicBezTo>
                    <a:pt x="2761583" y="753894"/>
                    <a:pt x="2825020" y="751703"/>
                    <a:pt x="2887980" y="750846"/>
                  </a:cubicBezTo>
                  <a:cubicBezTo>
                    <a:pt x="2951036" y="749417"/>
                    <a:pt x="3013615" y="749322"/>
                    <a:pt x="3075813" y="750179"/>
                  </a:cubicBezTo>
                  <a:cubicBezTo>
                    <a:pt x="3106865" y="750846"/>
                    <a:pt x="3137916" y="751417"/>
                    <a:pt x="3168587" y="752751"/>
                  </a:cubicBezTo>
                  <a:cubicBezTo>
                    <a:pt x="3199448" y="753703"/>
                    <a:pt x="3229928" y="755227"/>
                    <a:pt x="3260408" y="756656"/>
                  </a:cubicBezTo>
                  <a:cubicBezTo>
                    <a:pt x="3320987" y="760466"/>
                    <a:pt x="3381470" y="764562"/>
                    <a:pt x="3440049" y="771610"/>
                  </a:cubicBezTo>
                  <a:cubicBezTo>
                    <a:pt x="3454908" y="773039"/>
                    <a:pt x="3469386" y="775039"/>
                    <a:pt x="3483864" y="776849"/>
                  </a:cubicBezTo>
                  <a:lnTo>
                    <a:pt x="3528536" y="782469"/>
                  </a:lnTo>
                  <a:lnTo>
                    <a:pt x="3628549" y="796089"/>
                  </a:lnTo>
                  <a:lnTo>
                    <a:pt x="3828574" y="823140"/>
                  </a:lnTo>
                  <a:cubicBezTo>
                    <a:pt x="3962019" y="840190"/>
                    <a:pt x="4095750" y="858573"/>
                    <a:pt x="4231196" y="874099"/>
                  </a:cubicBezTo>
                  <a:lnTo>
                    <a:pt x="4433126" y="897435"/>
                  </a:lnTo>
                  <a:lnTo>
                    <a:pt x="4485990" y="903246"/>
                  </a:lnTo>
                  <a:cubicBezTo>
                    <a:pt x="4503897" y="905151"/>
                    <a:pt x="4521708" y="907341"/>
                    <a:pt x="4539806" y="908961"/>
                  </a:cubicBezTo>
                  <a:lnTo>
                    <a:pt x="4593908" y="914199"/>
                  </a:lnTo>
                  <a:lnTo>
                    <a:pt x="4648296" y="918771"/>
                  </a:lnTo>
                  <a:cubicBezTo>
                    <a:pt x="4793456" y="930392"/>
                    <a:pt x="4942237" y="935631"/>
                    <a:pt x="5092446" y="931154"/>
                  </a:cubicBezTo>
                  <a:cubicBezTo>
                    <a:pt x="5242274" y="927249"/>
                    <a:pt x="5393627" y="911437"/>
                    <a:pt x="5533168" y="891816"/>
                  </a:cubicBezTo>
                  <a:cubicBezTo>
                    <a:pt x="5673471" y="872289"/>
                    <a:pt x="5798820" y="851906"/>
                    <a:pt x="5918169" y="840666"/>
                  </a:cubicBezTo>
                  <a:cubicBezTo>
                    <a:pt x="5948077" y="837809"/>
                    <a:pt x="5977795" y="835237"/>
                    <a:pt x="6007323" y="833237"/>
                  </a:cubicBezTo>
                  <a:cubicBezTo>
                    <a:pt x="6022086" y="832094"/>
                    <a:pt x="6036945" y="831332"/>
                    <a:pt x="6051709" y="830570"/>
                  </a:cubicBezTo>
                  <a:lnTo>
                    <a:pt x="6097429" y="828379"/>
                  </a:lnTo>
                  <a:cubicBezTo>
                    <a:pt x="6158960" y="825236"/>
                    <a:pt x="6223445" y="823807"/>
                    <a:pt x="6287834" y="822569"/>
                  </a:cubicBezTo>
                  <a:cubicBezTo>
                    <a:pt x="6417374" y="820664"/>
                    <a:pt x="6549485" y="820188"/>
                    <a:pt x="6681597" y="821235"/>
                  </a:cubicBezTo>
                  <a:cubicBezTo>
                    <a:pt x="6813899" y="822378"/>
                    <a:pt x="6946773" y="823617"/>
                    <a:pt x="7079647" y="826569"/>
                  </a:cubicBezTo>
                  <a:cubicBezTo>
                    <a:pt x="7212520" y="828951"/>
                    <a:pt x="7345585" y="831903"/>
                    <a:pt x="7478173" y="836094"/>
                  </a:cubicBezTo>
                  <a:cubicBezTo>
                    <a:pt x="7610475" y="839714"/>
                    <a:pt x="7743539" y="844953"/>
                    <a:pt x="7871937" y="851430"/>
                  </a:cubicBezTo>
                  <a:lnTo>
                    <a:pt x="7919657" y="854097"/>
                  </a:lnTo>
                  <a:cubicBezTo>
                    <a:pt x="7935564" y="854954"/>
                    <a:pt x="7949756" y="856192"/>
                    <a:pt x="7964901" y="857240"/>
                  </a:cubicBezTo>
                  <a:lnTo>
                    <a:pt x="8015955" y="861050"/>
                  </a:lnTo>
                  <a:cubicBezTo>
                    <a:pt x="8035195" y="862383"/>
                    <a:pt x="8053769" y="863622"/>
                    <a:pt x="8072247" y="864384"/>
                  </a:cubicBezTo>
                  <a:cubicBezTo>
                    <a:pt x="8145780" y="867527"/>
                    <a:pt x="8216456" y="868479"/>
                    <a:pt x="8286750" y="868384"/>
                  </a:cubicBezTo>
                  <a:cubicBezTo>
                    <a:pt x="8427148" y="867527"/>
                    <a:pt x="8565452" y="862574"/>
                    <a:pt x="8704040" y="853716"/>
                  </a:cubicBezTo>
                  <a:cubicBezTo>
                    <a:pt x="8842534" y="844762"/>
                    <a:pt x="8980741" y="832284"/>
                    <a:pt x="9120188" y="814092"/>
                  </a:cubicBezTo>
                  <a:cubicBezTo>
                    <a:pt x="9140761" y="811425"/>
                    <a:pt x="9161336" y="808567"/>
                    <a:pt x="9181909" y="805519"/>
                  </a:cubicBezTo>
                  <a:lnTo>
                    <a:pt x="9181909" y="396420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385A18E1-CBE3-4BBD-B1B7-CDBCA685E01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3199381"/>
              <a:ext cx="12188952" cy="902694"/>
            </a:xfrm>
            <a:custGeom>
              <a:avLst/>
              <a:gdLst>
                <a:gd name="connsiteX0" fmla="*/ 9182100 w 9182100"/>
                <a:gd name="connsiteY0" fmla="*/ 351088 h 765639"/>
                <a:gd name="connsiteX1" fmla="*/ 9178480 w 9182100"/>
                <a:gd name="connsiteY1" fmla="*/ 350993 h 765639"/>
                <a:gd name="connsiteX2" fmla="*/ 8783955 w 9182100"/>
                <a:gd name="connsiteY2" fmla="*/ 327561 h 765639"/>
                <a:gd name="connsiteX3" fmla="*/ 8390763 w 9182100"/>
                <a:gd name="connsiteY3" fmla="*/ 288795 h 765639"/>
                <a:gd name="connsiteX4" fmla="*/ 8199502 w 9182100"/>
                <a:gd name="connsiteY4" fmla="*/ 262601 h 765639"/>
                <a:gd name="connsiteX5" fmla="*/ 8153972 w 9182100"/>
                <a:gd name="connsiteY5" fmla="*/ 254886 h 765639"/>
                <a:gd name="connsiteX6" fmla="*/ 8131588 w 9182100"/>
                <a:gd name="connsiteY6" fmla="*/ 250790 h 765639"/>
                <a:gd name="connsiteX7" fmla="*/ 8104632 w 9182100"/>
                <a:gd name="connsiteY7" fmla="*/ 246504 h 765639"/>
                <a:gd name="connsiteX8" fmla="*/ 8050911 w 9182100"/>
                <a:gd name="connsiteY8" fmla="*/ 238217 h 765639"/>
                <a:gd name="connsiteX9" fmla="*/ 7998810 w 9182100"/>
                <a:gd name="connsiteY9" fmla="*/ 230978 h 765639"/>
                <a:gd name="connsiteX10" fmla="*/ 7589902 w 9182100"/>
                <a:gd name="connsiteY10" fmla="*/ 183925 h 765639"/>
                <a:gd name="connsiteX11" fmla="*/ 7183469 w 9182100"/>
                <a:gd name="connsiteY11" fmla="*/ 147634 h 765639"/>
                <a:gd name="connsiteX12" fmla="*/ 6775990 w 9182100"/>
                <a:gd name="connsiteY12" fmla="*/ 119821 h 765639"/>
                <a:gd name="connsiteX13" fmla="*/ 6364795 w 9182100"/>
                <a:gd name="connsiteY13" fmla="*/ 102391 h 765639"/>
                <a:gd name="connsiteX14" fmla="*/ 6154293 w 9182100"/>
                <a:gd name="connsiteY14" fmla="*/ 100581 h 765639"/>
                <a:gd name="connsiteX15" fmla="*/ 6100287 w 9182100"/>
                <a:gd name="connsiteY15" fmla="*/ 101343 h 765639"/>
                <a:gd name="connsiteX16" fmla="*/ 6045327 w 9182100"/>
                <a:gd name="connsiteY16" fmla="*/ 103438 h 765639"/>
                <a:gd name="connsiteX17" fmla="*/ 5935980 w 9182100"/>
                <a:gd name="connsiteY17" fmla="*/ 110296 h 765639"/>
                <a:gd name="connsiteX18" fmla="*/ 5523357 w 9182100"/>
                <a:gd name="connsiteY18" fmla="*/ 157635 h 765639"/>
                <a:gd name="connsiteX19" fmla="*/ 5149882 w 9182100"/>
                <a:gd name="connsiteY19" fmla="*/ 185639 h 765639"/>
                <a:gd name="connsiteX20" fmla="*/ 4777073 w 9182100"/>
                <a:gd name="connsiteY20" fmla="*/ 170685 h 765639"/>
                <a:gd name="connsiteX21" fmla="*/ 4729925 w 9182100"/>
                <a:gd name="connsiteY21" fmla="*/ 166208 h 765639"/>
                <a:gd name="connsiteX22" fmla="*/ 4682585 w 9182100"/>
                <a:gd name="connsiteY22" fmla="*/ 161064 h 765639"/>
                <a:gd name="connsiteX23" fmla="*/ 4635151 w 9182100"/>
                <a:gd name="connsiteY23" fmla="*/ 155445 h 765639"/>
                <a:gd name="connsiteX24" fmla="*/ 4611434 w 9182100"/>
                <a:gd name="connsiteY24" fmla="*/ 152492 h 765639"/>
                <a:gd name="connsiteX25" fmla="*/ 4587145 w 9182100"/>
                <a:gd name="connsiteY25" fmla="*/ 149349 h 765639"/>
                <a:gd name="connsiteX26" fmla="*/ 4387977 w 9182100"/>
                <a:gd name="connsiteY26" fmla="*/ 122774 h 765639"/>
                <a:gd name="connsiteX27" fmla="*/ 3989356 w 9182100"/>
                <a:gd name="connsiteY27" fmla="*/ 68577 h 765639"/>
                <a:gd name="connsiteX28" fmla="*/ 3789140 w 9182100"/>
                <a:gd name="connsiteY28" fmla="*/ 42192 h 765639"/>
                <a:gd name="connsiteX29" fmla="*/ 3689033 w 9182100"/>
                <a:gd name="connsiteY29" fmla="*/ 29143 h 765639"/>
                <a:gd name="connsiteX30" fmla="*/ 3634835 w 9182100"/>
                <a:gd name="connsiteY30" fmla="*/ 22571 h 765639"/>
                <a:gd name="connsiteX31" fmla="*/ 3579876 w 9182100"/>
                <a:gd name="connsiteY31" fmla="*/ 16856 h 765639"/>
                <a:gd name="connsiteX32" fmla="*/ 3147441 w 9182100"/>
                <a:gd name="connsiteY32" fmla="*/ 473 h 765639"/>
                <a:gd name="connsiteX33" fmla="*/ 2724722 w 9182100"/>
                <a:gd name="connsiteY33" fmla="*/ 22857 h 765639"/>
                <a:gd name="connsiteX34" fmla="*/ 1898428 w 9182100"/>
                <a:gd name="connsiteY34" fmla="*/ 147730 h 765639"/>
                <a:gd name="connsiteX35" fmla="*/ 1692878 w 9182100"/>
                <a:gd name="connsiteY35" fmla="*/ 195069 h 765639"/>
                <a:gd name="connsiteX36" fmla="*/ 1640205 w 9182100"/>
                <a:gd name="connsiteY36" fmla="*/ 208785 h 765639"/>
                <a:gd name="connsiteX37" fmla="*/ 1592294 w 9182100"/>
                <a:gd name="connsiteY37" fmla="*/ 221643 h 765639"/>
                <a:gd name="connsiteX38" fmla="*/ 1500092 w 9182100"/>
                <a:gd name="connsiteY38" fmla="*/ 245551 h 765639"/>
                <a:gd name="connsiteX39" fmla="*/ 1130046 w 9182100"/>
                <a:gd name="connsiteY39" fmla="*/ 318227 h 765639"/>
                <a:gd name="connsiteX40" fmla="*/ 944880 w 9182100"/>
                <a:gd name="connsiteY40" fmla="*/ 337658 h 765639"/>
                <a:gd name="connsiteX41" fmla="*/ 852583 w 9182100"/>
                <a:gd name="connsiteY41" fmla="*/ 341944 h 765639"/>
                <a:gd name="connsiteX42" fmla="*/ 760476 w 9182100"/>
                <a:gd name="connsiteY42" fmla="*/ 343087 h 765639"/>
                <a:gd name="connsiteX43" fmla="*/ 577215 w 9182100"/>
                <a:gd name="connsiteY43" fmla="*/ 332800 h 765639"/>
                <a:gd name="connsiteX44" fmla="*/ 394907 w 9182100"/>
                <a:gd name="connsiteY44" fmla="*/ 305463 h 765639"/>
                <a:gd name="connsiteX45" fmla="*/ 211265 w 9182100"/>
                <a:gd name="connsiteY45" fmla="*/ 261363 h 765639"/>
                <a:gd name="connsiteX46" fmla="*/ 17526 w 9182100"/>
                <a:gd name="connsiteY46" fmla="*/ 204880 h 765639"/>
                <a:gd name="connsiteX47" fmla="*/ 0 w 9182100"/>
                <a:gd name="connsiteY47" fmla="*/ 199927 h 765639"/>
                <a:gd name="connsiteX48" fmla="*/ 0 w 9182100"/>
                <a:gd name="connsiteY48" fmla="*/ 526920 h 765639"/>
                <a:gd name="connsiteX49" fmla="*/ 100298 w 9182100"/>
                <a:gd name="connsiteY49" fmla="*/ 571973 h 765639"/>
                <a:gd name="connsiteX50" fmla="*/ 301562 w 9182100"/>
                <a:gd name="connsiteY50" fmla="*/ 649697 h 765639"/>
                <a:gd name="connsiteX51" fmla="*/ 731044 w 9182100"/>
                <a:gd name="connsiteY51" fmla="*/ 746947 h 765639"/>
                <a:gd name="connsiteX52" fmla="*/ 1168241 w 9182100"/>
                <a:gd name="connsiteY52" fmla="*/ 762759 h 765639"/>
                <a:gd name="connsiteX53" fmla="*/ 1596581 w 9182100"/>
                <a:gd name="connsiteY53" fmla="*/ 716944 h 765639"/>
                <a:gd name="connsiteX54" fmla="*/ 1701641 w 9182100"/>
                <a:gd name="connsiteY54" fmla="*/ 697894 h 765639"/>
                <a:gd name="connsiteX55" fmla="*/ 1752124 w 9182100"/>
                <a:gd name="connsiteY55" fmla="*/ 688273 h 765639"/>
                <a:gd name="connsiteX56" fmla="*/ 1797939 w 9182100"/>
                <a:gd name="connsiteY56" fmla="*/ 679891 h 765639"/>
                <a:gd name="connsiteX57" fmla="*/ 1988630 w 9182100"/>
                <a:gd name="connsiteY57" fmla="*/ 649316 h 765639"/>
                <a:gd name="connsiteX58" fmla="*/ 2376297 w 9182100"/>
                <a:gd name="connsiteY58" fmla="*/ 601691 h 765639"/>
                <a:gd name="connsiteX59" fmla="*/ 2570416 w 9182100"/>
                <a:gd name="connsiteY59" fmla="*/ 584165 h 765639"/>
                <a:gd name="connsiteX60" fmla="*/ 2764155 w 9182100"/>
                <a:gd name="connsiteY60" fmla="*/ 571497 h 765639"/>
                <a:gd name="connsiteX61" fmla="*/ 2956941 w 9182100"/>
                <a:gd name="connsiteY61" fmla="*/ 564163 h 765639"/>
                <a:gd name="connsiteX62" fmla="*/ 3148298 w 9182100"/>
                <a:gd name="connsiteY62" fmla="*/ 562639 h 765639"/>
                <a:gd name="connsiteX63" fmla="*/ 3337274 w 9182100"/>
                <a:gd name="connsiteY63" fmla="*/ 568544 h 765639"/>
                <a:gd name="connsiteX64" fmla="*/ 3522345 w 9182100"/>
                <a:gd name="connsiteY64" fmla="*/ 583308 h 765639"/>
                <a:gd name="connsiteX65" fmla="*/ 3567779 w 9182100"/>
                <a:gd name="connsiteY65" fmla="*/ 588642 h 765639"/>
                <a:gd name="connsiteX66" fmla="*/ 3613785 w 9182100"/>
                <a:gd name="connsiteY66" fmla="*/ 594357 h 765639"/>
                <a:gd name="connsiteX67" fmla="*/ 3713798 w 9182100"/>
                <a:gd name="connsiteY67" fmla="*/ 607882 h 765639"/>
                <a:gd name="connsiteX68" fmla="*/ 3913823 w 9182100"/>
                <a:gd name="connsiteY68" fmla="*/ 634838 h 765639"/>
                <a:gd name="connsiteX69" fmla="*/ 4315873 w 9182100"/>
                <a:gd name="connsiteY69" fmla="*/ 686273 h 765639"/>
                <a:gd name="connsiteX70" fmla="*/ 4517422 w 9182100"/>
                <a:gd name="connsiteY70" fmla="*/ 710086 h 765639"/>
                <a:gd name="connsiteX71" fmla="*/ 4728972 w 9182100"/>
                <a:gd name="connsiteY71" fmla="*/ 731422 h 765639"/>
                <a:gd name="connsiteX72" fmla="*/ 5162931 w 9182100"/>
                <a:gd name="connsiteY72" fmla="*/ 744185 h 765639"/>
                <a:gd name="connsiteX73" fmla="*/ 5594033 w 9182100"/>
                <a:gd name="connsiteY73" fmla="*/ 706466 h 765639"/>
                <a:gd name="connsiteX74" fmla="*/ 5982939 w 9182100"/>
                <a:gd name="connsiteY74" fmla="*/ 655793 h 765639"/>
                <a:gd name="connsiteX75" fmla="*/ 6075045 w 9182100"/>
                <a:gd name="connsiteY75" fmla="*/ 648459 h 765639"/>
                <a:gd name="connsiteX76" fmla="*/ 6167819 w 9182100"/>
                <a:gd name="connsiteY76" fmla="*/ 643887 h 765639"/>
                <a:gd name="connsiteX77" fmla="*/ 6361081 w 9182100"/>
                <a:gd name="connsiteY77" fmla="*/ 639124 h 765639"/>
                <a:gd name="connsiteX78" fmla="*/ 6757321 w 9182100"/>
                <a:gd name="connsiteY78" fmla="*/ 640458 h 765639"/>
                <a:gd name="connsiteX79" fmla="*/ 7156704 w 9182100"/>
                <a:gd name="connsiteY79" fmla="*/ 649030 h 765639"/>
                <a:gd name="connsiteX80" fmla="*/ 7556373 w 9182100"/>
                <a:gd name="connsiteY80" fmla="*/ 662365 h 765639"/>
                <a:gd name="connsiteX81" fmla="*/ 7952328 w 9182100"/>
                <a:gd name="connsiteY81" fmla="*/ 682177 h 765639"/>
                <a:gd name="connsiteX82" fmla="*/ 8000714 w 9182100"/>
                <a:gd name="connsiteY82" fmla="*/ 685511 h 765639"/>
                <a:gd name="connsiteX83" fmla="*/ 8047196 w 9182100"/>
                <a:gd name="connsiteY83" fmla="*/ 689416 h 765639"/>
                <a:gd name="connsiteX84" fmla="*/ 8097965 w 9182100"/>
                <a:gd name="connsiteY84" fmla="*/ 693893 h 765639"/>
                <a:gd name="connsiteX85" fmla="*/ 8152733 w 9182100"/>
                <a:gd name="connsiteY85" fmla="*/ 697894 h 765639"/>
                <a:gd name="connsiteX86" fmla="*/ 8363903 w 9182100"/>
                <a:gd name="connsiteY86" fmla="*/ 705133 h 765639"/>
                <a:gd name="connsiteX87" fmla="*/ 8777764 w 9182100"/>
                <a:gd name="connsiteY87" fmla="*/ 698084 h 765639"/>
                <a:gd name="connsiteX88" fmla="*/ 9182005 w 9182100"/>
                <a:gd name="connsiteY88" fmla="*/ 668366 h 765639"/>
                <a:gd name="connsiteX89" fmla="*/ 9182005 w 9182100"/>
                <a:gd name="connsiteY89" fmla="*/ 351088 h 765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9182100" h="765639">
                  <a:moveTo>
                    <a:pt x="9182100" y="351088"/>
                  </a:moveTo>
                  <a:cubicBezTo>
                    <a:pt x="9180862" y="351088"/>
                    <a:pt x="9179719" y="350993"/>
                    <a:pt x="9178480" y="350993"/>
                  </a:cubicBezTo>
                  <a:cubicBezTo>
                    <a:pt x="9047607" y="346421"/>
                    <a:pt x="8915591" y="337944"/>
                    <a:pt x="8783955" y="327561"/>
                  </a:cubicBezTo>
                  <a:cubicBezTo>
                    <a:pt x="8652320" y="316894"/>
                    <a:pt x="8520589" y="304416"/>
                    <a:pt x="8390763" y="288795"/>
                  </a:cubicBezTo>
                  <a:cubicBezTo>
                    <a:pt x="8325898" y="281175"/>
                    <a:pt x="8261509" y="272602"/>
                    <a:pt x="8199502" y="262601"/>
                  </a:cubicBezTo>
                  <a:cubicBezTo>
                    <a:pt x="8184070" y="260029"/>
                    <a:pt x="8168831" y="257553"/>
                    <a:pt x="8153972" y="254886"/>
                  </a:cubicBezTo>
                  <a:lnTo>
                    <a:pt x="8131588" y="250790"/>
                  </a:lnTo>
                  <a:lnTo>
                    <a:pt x="8104632" y="246504"/>
                  </a:lnTo>
                  <a:cubicBezTo>
                    <a:pt x="8086725" y="243741"/>
                    <a:pt x="8068247" y="240598"/>
                    <a:pt x="8050911" y="238217"/>
                  </a:cubicBezTo>
                  <a:lnTo>
                    <a:pt x="7998810" y="230978"/>
                  </a:lnTo>
                  <a:cubicBezTo>
                    <a:pt x="7860697" y="212023"/>
                    <a:pt x="7725633" y="198021"/>
                    <a:pt x="7589902" y="183925"/>
                  </a:cubicBezTo>
                  <a:cubicBezTo>
                    <a:pt x="7454360" y="170304"/>
                    <a:pt x="7319010" y="158779"/>
                    <a:pt x="7183469" y="147634"/>
                  </a:cubicBezTo>
                  <a:cubicBezTo>
                    <a:pt x="7047929" y="137252"/>
                    <a:pt x="6912198" y="127632"/>
                    <a:pt x="6775990" y="119821"/>
                  </a:cubicBezTo>
                  <a:cubicBezTo>
                    <a:pt x="6639592" y="112582"/>
                    <a:pt x="6503194" y="105439"/>
                    <a:pt x="6364795" y="102391"/>
                  </a:cubicBezTo>
                  <a:cubicBezTo>
                    <a:pt x="6295263" y="101057"/>
                    <a:pt x="6225826" y="99819"/>
                    <a:pt x="6154293" y="100581"/>
                  </a:cubicBezTo>
                  <a:cubicBezTo>
                    <a:pt x="6136577" y="100581"/>
                    <a:pt x="6118860" y="100581"/>
                    <a:pt x="6100287" y="101343"/>
                  </a:cubicBezTo>
                  <a:cubicBezTo>
                    <a:pt x="6081903" y="101819"/>
                    <a:pt x="6063615" y="102486"/>
                    <a:pt x="6045327" y="103438"/>
                  </a:cubicBezTo>
                  <a:cubicBezTo>
                    <a:pt x="6008656" y="104962"/>
                    <a:pt x="5972175" y="107439"/>
                    <a:pt x="5935980" y="110296"/>
                  </a:cubicBezTo>
                  <a:cubicBezTo>
                    <a:pt x="5790724" y="121631"/>
                    <a:pt x="5651659" y="142110"/>
                    <a:pt x="5523357" y="157635"/>
                  </a:cubicBezTo>
                  <a:cubicBezTo>
                    <a:pt x="5394484" y="173542"/>
                    <a:pt x="5273040" y="183543"/>
                    <a:pt x="5149882" y="185639"/>
                  </a:cubicBezTo>
                  <a:cubicBezTo>
                    <a:pt x="5027010" y="187925"/>
                    <a:pt x="4902803" y="182210"/>
                    <a:pt x="4777073" y="170685"/>
                  </a:cubicBezTo>
                  <a:lnTo>
                    <a:pt x="4729925" y="166208"/>
                  </a:lnTo>
                  <a:lnTo>
                    <a:pt x="4682585" y="161064"/>
                  </a:lnTo>
                  <a:cubicBezTo>
                    <a:pt x="4666869" y="159445"/>
                    <a:pt x="4650963" y="157350"/>
                    <a:pt x="4635151" y="155445"/>
                  </a:cubicBezTo>
                  <a:lnTo>
                    <a:pt x="4611434" y="152492"/>
                  </a:lnTo>
                  <a:cubicBezTo>
                    <a:pt x="4603623" y="151539"/>
                    <a:pt x="4595622" y="150587"/>
                    <a:pt x="4587145" y="149349"/>
                  </a:cubicBezTo>
                  <a:lnTo>
                    <a:pt x="4387977" y="122774"/>
                  </a:lnTo>
                  <a:lnTo>
                    <a:pt x="3989356" y="68577"/>
                  </a:lnTo>
                  <a:lnTo>
                    <a:pt x="3789140" y="42192"/>
                  </a:lnTo>
                  <a:lnTo>
                    <a:pt x="3689033" y="29143"/>
                  </a:lnTo>
                  <a:lnTo>
                    <a:pt x="3634835" y="22571"/>
                  </a:lnTo>
                  <a:cubicBezTo>
                    <a:pt x="3616452" y="20285"/>
                    <a:pt x="3598069" y="18380"/>
                    <a:pt x="3579876" y="16856"/>
                  </a:cubicBezTo>
                  <a:cubicBezTo>
                    <a:pt x="3433667" y="3140"/>
                    <a:pt x="3289840" y="-1622"/>
                    <a:pt x="3147441" y="473"/>
                  </a:cubicBezTo>
                  <a:cubicBezTo>
                    <a:pt x="3005138" y="2283"/>
                    <a:pt x="2864263" y="10188"/>
                    <a:pt x="2724722" y="22857"/>
                  </a:cubicBezTo>
                  <a:cubicBezTo>
                    <a:pt x="2445353" y="48098"/>
                    <a:pt x="2171129" y="90198"/>
                    <a:pt x="1898428" y="147730"/>
                  </a:cubicBezTo>
                  <a:cubicBezTo>
                    <a:pt x="1830134" y="162208"/>
                    <a:pt x="1762030" y="177448"/>
                    <a:pt x="1692878" y="195069"/>
                  </a:cubicBezTo>
                  <a:lnTo>
                    <a:pt x="1640205" y="208785"/>
                  </a:lnTo>
                  <a:lnTo>
                    <a:pt x="1592294" y="221643"/>
                  </a:lnTo>
                  <a:cubicBezTo>
                    <a:pt x="1561624" y="229740"/>
                    <a:pt x="1530858" y="238503"/>
                    <a:pt x="1500092" y="245551"/>
                  </a:cubicBezTo>
                  <a:cubicBezTo>
                    <a:pt x="1377125" y="276412"/>
                    <a:pt x="1253490" y="300987"/>
                    <a:pt x="1130046" y="318227"/>
                  </a:cubicBezTo>
                  <a:cubicBezTo>
                    <a:pt x="1068229" y="326895"/>
                    <a:pt x="1006602" y="333086"/>
                    <a:pt x="944880" y="337658"/>
                  </a:cubicBezTo>
                  <a:cubicBezTo>
                    <a:pt x="914114" y="339277"/>
                    <a:pt x="883253" y="341563"/>
                    <a:pt x="852583" y="341944"/>
                  </a:cubicBezTo>
                  <a:cubicBezTo>
                    <a:pt x="821817" y="343278"/>
                    <a:pt x="791147" y="342992"/>
                    <a:pt x="760476" y="343087"/>
                  </a:cubicBezTo>
                  <a:cubicBezTo>
                    <a:pt x="699230" y="342135"/>
                    <a:pt x="638175" y="338706"/>
                    <a:pt x="577215" y="332800"/>
                  </a:cubicBezTo>
                  <a:cubicBezTo>
                    <a:pt x="516255" y="326895"/>
                    <a:pt x="455771" y="317179"/>
                    <a:pt x="394907" y="305463"/>
                  </a:cubicBezTo>
                  <a:cubicBezTo>
                    <a:pt x="334137" y="293557"/>
                    <a:pt x="273368" y="278412"/>
                    <a:pt x="211265" y="261363"/>
                  </a:cubicBezTo>
                  <a:cubicBezTo>
                    <a:pt x="149066" y="244123"/>
                    <a:pt x="85820" y="224310"/>
                    <a:pt x="17526" y="204880"/>
                  </a:cubicBezTo>
                  <a:cubicBezTo>
                    <a:pt x="11716" y="203165"/>
                    <a:pt x="5906" y="201546"/>
                    <a:pt x="0" y="199927"/>
                  </a:cubicBezTo>
                  <a:lnTo>
                    <a:pt x="0" y="526920"/>
                  </a:lnTo>
                  <a:cubicBezTo>
                    <a:pt x="32576" y="541874"/>
                    <a:pt x="66104" y="557114"/>
                    <a:pt x="100298" y="571973"/>
                  </a:cubicBezTo>
                  <a:cubicBezTo>
                    <a:pt x="164973" y="600167"/>
                    <a:pt x="232410" y="626456"/>
                    <a:pt x="301562" y="649697"/>
                  </a:cubicBezTo>
                  <a:cubicBezTo>
                    <a:pt x="439865" y="696655"/>
                    <a:pt x="585216" y="728754"/>
                    <a:pt x="731044" y="746947"/>
                  </a:cubicBezTo>
                  <a:cubicBezTo>
                    <a:pt x="876967" y="764664"/>
                    <a:pt x="1023652" y="769426"/>
                    <a:pt x="1168241" y="762759"/>
                  </a:cubicBezTo>
                  <a:cubicBezTo>
                    <a:pt x="1313021" y="756663"/>
                    <a:pt x="1455896" y="740185"/>
                    <a:pt x="1596581" y="716944"/>
                  </a:cubicBezTo>
                  <a:cubicBezTo>
                    <a:pt x="1632014" y="711610"/>
                    <a:pt x="1666685" y="704371"/>
                    <a:pt x="1701641" y="697894"/>
                  </a:cubicBezTo>
                  <a:lnTo>
                    <a:pt x="1752124" y="688273"/>
                  </a:lnTo>
                  <a:lnTo>
                    <a:pt x="1797939" y="679891"/>
                  </a:lnTo>
                  <a:cubicBezTo>
                    <a:pt x="1860328" y="669128"/>
                    <a:pt x="1924431" y="658746"/>
                    <a:pt x="1988630" y="649316"/>
                  </a:cubicBezTo>
                  <a:cubicBezTo>
                    <a:pt x="2117217" y="630838"/>
                    <a:pt x="2246852" y="614645"/>
                    <a:pt x="2376297" y="601691"/>
                  </a:cubicBezTo>
                  <a:cubicBezTo>
                    <a:pt x="2441067" y="595214"/>
                    <a:pt x="2505742" y="589118"/>
                    <a:pt x="2570416" y="584165"/>
                  </a:cubicBezTo>
                  <a:cubicBezTo>
                    <a:pt x="2635091" y="579402"/>
                    <a:pt x="2699671" y="574831"/>
                    <a:pt x="2764155" y="571497"/>
                  </a:cubicBezTo>
                  <a:cubicBezTo>
                    <a:pt x="2828639" y="568068"/>
                    <a:pt x="2892933" y="565401"/>
                    <a:pt x="2956941" y="564163"/>
                  </a:cubicBezTo>
                  <a:cubicBezTo>
                    <a:pt x="3021045" y="562353"/>
                    <a:pt x="3084766" y="561972"/>
                    <a:pt x="3148298" y="562639"/>
                  </a:cubicBezTo>
                  <a:cubicBezTo>
                    <a:pt x="3211735" y="563305"/>
                    <a:pt x="3274695" y="565591"/>
                    <a:pt x="3337274" y="568544"/>
                  </a:cubicBezTo>
                  <a:cubicBezTo>
                    <a:pt x="3399568" y="572259"/>
                    <a:pt x="3461671" y="576259"/>
                    <a:pt x="3522345" y="583308"/>
                  </a:cubicBezTo>
                  <a:cubicBezTo>
                    <a:pt x="3537680" y="584737"/>
                    <a:pt x="3552730" y="586737"/>
                    <a:pt x="3567779" y="588642"/>
                  </a:cubicBezTo>
                  <a:lnTo>
                    <a:pt x="3613785" y="594357"/>
                  </a:lnTo>
                  <a:lnTo>
                    <a:pt x="3713798" y="607882"/>
                  </a:lnTo>
                  <a:lnTo>
                    <a:pt x="3913823" y="634838"/>
                  </a:lnTo>
                  <a:cubicBezTo>
                    <a:pt x="4047268" y="652078"/>
                    <a:pt x="4180904" y="670366"/>
                    <a:pt x="4315873" y="686273"/>
                  </a:cubicBezTo>
                  <a:lnTo>
                    <a:pt x="4517422" y="710086"/>
                  </a:lnTo>
                  <a:cubicBezTo>
                    <a:pt x="4586573" y="717896"/>
                    <a:pt x="4657916" y="725992"/>
                    <a:pt x="4728972" y="731422"/>
                  </a:cubicBezTo>
                  <a:cubicBezTo>
                    <a:pt x="4871371" y="743042"/>
                    <a:pt x="5016627" y="748376"/>
                    <a:pt x="5162931" y="744185"/>
                  </a:cubicBezTo>
                  <a:cubicBezTo>
                    <a:pt x="5308949" y="740566"/>
                    <a:pt x="5456111" y="725611"/>
                    <a:pt x="5594033" y="706466"/>
                  </a:cubicBezTo>
                  <a:cubicBezTo>
                    <a:pt x="5732621" y="687511"/>
                    <a:pt x="5859876" y="667033"/>
                    <a:pt x="5982939" y="655793"/>
                  </a:cubicBezTo>
                  <a:cubicBezTo>
                    <a:pt x="6013799" y="652936"/>
                    <a:pt x="6044375" y="650364"/>
                    <a:pt x="6075045" y="648459"/>
                  </a:cubicBezTo>
                  <a:cubicBezTo>
                    <a:pt x="6105906" y="646363"/>
                    <a:pt x="6135529" y="645125"/>
                    <a:pt x="6167819" y="643887"/>
                  </a:cubicBezTo>
                  <a:cubicBezTo>
                    <a:pt x="6230779" y="641125"/>
                    <a:pt x="6295930" y="640077"/>
                    <a:pt x="6361081" y="639124"/>
                  </a:cubicBezTo>
                  <a:cubicBezTo>
                    <a:pt x="6491955" y="637981"/>
                    <a:pt x="6624638" y="638553"/>
                    <a:pt x="6757321" y="640458"/>
                  </a:cubicBezTo>
                  <a:cubicBezTo>
                    <a:pt x="6890195" y="642553"/>
                    <a:pt x="7023449" y="645030"/>
                    <a:pt x="7156704" y="649030"/>
                  </a:cubicBezTo>
                  <a:cubicBezTo>
                    <a:pt x="7289959" y="652650"/>
                    <a:pt x="7423404" y="656841"/>
                    <a:pt x="7556373" y="662365"/>
                  </a:cubicBezTo>
                  <a:cubicBezTo>
                    <a:pt x="7689152" y="667509"/>
                    <a:pt x="7822502" y="673986"/>
                    <a:pt x="7952328" y="682177"/>
                  </a:cubicBezTo>
                  <a:lnTo>
                    <a:pt x="8000714" y="685511"/>
                  </a:lnTo>
                  <a:cubicBezTo>
                    <a:pt x="8016811" y="686654"/>
                    <a:pt x="8031670" y="688178"/>
                    <a:pt x="8047196" y="689416"/>
                  </a:cubicBezTo>
                  <a:lnTo>
                    <a:pt x="8097965" y="693893"/>
                  </a:lnTo>
                  <a:cubicBezTo>
                    <a:pt x="8116539" y="695417"/>
                    <a:pt x="8134731" y="696846"/>
                    <a:pt x="8152733" y="697894"/>
                  </a:cubicBezTo>
                  <a:cubicBezTo>
                    <a:pt x="8224647" y="701989"/>
                    <a:pt x="8294465" y="704085"/>
                    <a:pt x="8363903" y="705133"/>
                  </a:cubicBezTo>
                  <a:cubicBezTo>
                    <a:pt x="8502777" y="706657"/>
                    <a:pt x="8640223" y="704180"/>
                    <a:pt x="8777764" y="698084"/>
                  </a:cubicBezTo>
                  <a:cubicBezTo>
                    <a:pt x="8912352" y="692083"/>
                    <a:pt x="9046845" y="682749"/>
                    <a:pt x="9182005" y="668366"/>
                  </a:cubicBezTo>
                  <a:lnTo>
                    <a:pt x="9182005" y="351088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133EDCAA-1D6C-4710-9DA1-C7FC946D8EE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3501488"/>
              <a:ext cx="12188952" cy="641669"/>
            </a:xfrm>
            <a:custGeom>
              <a:avLst/>
              <a:gdLst>
                <a:gd name="connsiteX0" fmla="*/ 9182100 w 9182100"/>
                <a:gd name="connsiteY0" fmla="*/ 154189 h 544245"/>
                <a:gd name="connsiteX1" fmla="*/ 9047702 w 9182100"/>
                <a:gd name="connsiteY1" fmla="*/ 162762 h 544245"/>
                <a:gd name="connsiteX2" fmla="*/ 8652224 w 9182100"/>
                <a:gd name="connsiteY2" fmla="*/ 178287 h 544245"/>
                <a:gd name="connsiteX3" fmla="*/ 8255603 w 9182100"/>
                <a:gd name="connsiteY3" fmla="*/ 161047 h 544245"/>
                <a:gd name="connsiteX4" fmla="*/ 8060722 w 9182100"/>
                <a:gd name="connsiteY4" fmla="*/ 140854 h 544245"/>
                <a:gd name="connsiteX5" fmla="*/ 8013478 w 9182100"/>
                <a:gd name="connsiteY5" fmla="*/ 134187 h 544245"/>
                <a:gd name="connsiteX6" fmla="*/ 7990428 w 9182100"/>
                <a:gd name="connsiteY6" fmla="*/ 130567 h 544245"/>
                <a:gd name="connsiteX7" fmla="*/ 7964139 w 9182100"/>
                <a:gd name="connsiteY7" fmla="*/ 126853 h 544245"/>
                <a:gd name="connsiteX8" fmla="*/ 7911656 w 9182100"/>
                <a:gd name="connsiteY8" fmla="*/ 119518 h 544245"/>
                <a:gd name="connsiteX9" fmla="*/ 7860220 w 9182100"/>
                <a:gd name="connsiteY9" fmla="*/ 113232 h 544245"/>
                <a:gd name="connsiteX10" fmla="*/ 7453884 w 9182100"/>
                <a:gd name="connsiteY10" fmla="*/ 70369 h 544245"/>
                <a:gd name="connsiteX11" fmla="*/ 7048976 w 9182100"/>
                <a:gd name="connsiteY11" fmla="*/ 36556 h 544245"/>
                <a:gd name="connsiteX12" fmla="*/ 6846285 w 9182100"/>
                <a:gd name="connsiteY12" fmla="*/ 22649 h 544245"/>
                <a:gd name="connsiteX13" fmla="*/ 6643212 w 9182100"/>
                <a:gd name="connsiteY13" fmla="*/ 11600 h 544245"/>
                <a:gd name="connsiteX14" fmla="*/ 6541485 w 9182100"/>
                <a:gd name="connsiteY14" fmla="*/ 7314 h 544245"/>
                <a:gd name="connsiteX15" fmla="*/ 6439567 w 9182100"/>
                <a:gd name="connsiteY15" fmla="*/ 3885 h 544245"/>
                <a:gd name="connsiteX16" fmla="*/ 6337459 w 9182100"/>
                <a:gd name="connsiteY16" fmla="*/ 1313 h 544245"/>
                <a:gd name="connsiteX17" fmla="*/ 6234970 w 9182100"/>
                <a:gd name="connsiteY17" fmla="*/ 75 h 544245"/>
                <a:gd name="connsiteX18" fmla="*/ 6027802 w 9182100"/>
                <a:gd name="connsiteY18" fmla="*/ 2265 h 544245"/>
                <a:gd name="connsiteX19" fmla="*/ 5921978 w 9182100"/>
                <a:gd name="connsiteY19" fmla="*/ 6552 h 544245"/>
                <a:gd name="connsiteX20" fmla="*/ 5815965 w 9182100"/>
                <a:gd name="connsiteY20" fmla="*/ 14362 h 544245"/>
                <a:gd name="connsiteX21" fmla="*/ 5408390 w 9182100"/>
                <a:gd name="connsiteY21" fmla="*/ 67036 h 544245"/>
                <a:gd name="connsiteX22" fmla="*/ 5023866 w 9182100"/>
                <a:gd name="connsiteY22" fmla="*/ 103992 h 544245"/>
                <a:gd name="connsiteX23" fmla="*/ 4831556 w 9182100"/>
                <a:gd name="connsiteY23" fmla="*/ 106374 h 544245"/>
                <a:gd name="connsiteX24" fmla="*/ 4637723 w 9182100"/>
                <a:gd name="connsiteY24" fmla="*/ 98754 h 544245"/>
                <a:gd name="connsiteX25" fmla="*/ 4442460 w 9182100"/>
                <a:gd name="connsiteY25" fmla="*/ 83038 h 544245"/>
                <a:gd name="connsiteX26" fmla="*/ 4341686 w 9182100"/>
                <a:gd name="connsiteY26" fmla="*/ 77227 h 544245"/>
                <a:gd name="connsiteX27" fmla="*/ 4241006 w 9182100"/>
                <a:gd name="connsiteY27" fmla="*/ 71989 h 544245"/>
                <a:gd name="connsiteX28" fmla="*/ 3836956 w 9182100"/>
                <a:gd name="connsiteY28" fmla="*/ 54177 h 544245"/>
                <a:gd name="connsiteX29" fmla="*/ 3634549 w 9182100"/>
                <a:gd name="connsiteY29" fmla="*/ 45414 h 544245"/>
                <a:gd name="connsiteX30" fmla="*/ 3533394 w 9182100"/>
                <a:gd name="connsiteY30" fmla="*/ 40461 h 544245"/>
                <a:gd name="connsiteX31" fmla="*/ 3481959 w 9182100"/>
                <a:gd name="connsiteY31" fmla="*/ 37889 h 544245"/>
                <a:gd name="connsiteX32" fmla="*/ 3430238 w 9182100"/>
                <a:gd name="connsiteY32" fmla="*/ 35889 h 544245"/>
                <a:gd name="connsiteX33" fmla="*/ 3020473 w 9182100"/>
                <a:gd name="connsiteY33" fmla="*/ 37603 h 544245"/>
                <a:gd name="connsiteX34" fmla="*/ 2614422 w 9182100"/>
                <a:gd name="connsiteY34" fmla="*/ 56844 h 544245"/>
                <a:gd name="connsiteX35" fmla="*/ 2208657 w 9182100"/>
                <a:gd name="connsiteY35" fmla="*/ 81609 h 544245"/>
                <a:gd name="connsiteX36" fmla="*/ 1800606 w 9182100"/>
                <a:gd name="connsiteY36" fmla="*/ 107612 h 544245"/>
                <a:gd name="connsiteX37" fmla="*/ 1594676 w 9182100"/>
                <a:gd name="connsiteY37" fmla="*/ 124948 h 544245"/>
                <a:gd name="connsiteX38" fmla="*/ 1491996 w 9182100"/>
                <a:gd name="connsiteY38" fmla="*/ 136568 h 544245"/>
                <a:gd name="connsiteX39" fmla="*/ 1442942 w 9182100"/>
                <a:gd name="connsiteY39" fmla="*/ 141902 h 544245"/>
                <a:gd name="connsiteX40" fmla="*/ 1418463 w 9182100"/>
                <a:gd name="connsiteY40" fmla="*/ 144664 h 544245"/>
                <a:gd name="connsiteX41" fmla="*/ 1393984 w 9182100"/>
                <a:gd name="connsiteY41" fmla="*/ 146855 h 544245"/>
                <a:gd name="connsiteX42" fmla="*/ 1006697 w 9182100"/>
                <a:gd name="connsiteY42" fmla="*/ 169810 h 544245"/>
                <a:gd name="connsiteX43" fmla="*/ 816864 w 9182100"/>
                <a:gd name="connsiteY43" fmla="*/ 170953 h 544245"/>
                <a:gd name="connsiteX44" fmla="*/ 769906 w 9182100"/>
                <a:gd name="connsiteY44" fmla="*/ 169715 h 544245"/>
                <a:gd name="connsiteX45" fmla="*/ 723043 w 9182100"/>
                <a:gd name="connsiteY45" fmla="*/ 168096 h 544245"/>
                <a:gd name="connsiteX46" fmla="*/ 676370 w 9182100"/>
                <a:gd name="connsiteY46" fmla="*/ 166286 h 544245"/>
                <a:gd name="connsiteX47" fmla="*/ 629888 w 9182100"/>
                <a:gd name="connsiteY47" fmla="*/ 163333 h 544245"/>
                <a:gd name="connsiteX48" fmla="*/ 445484 w 9182100"/>
                <a:gd name="connsiteY48" fmla="*/ 146093 h 544245"/>
                <a:gd name="connsiteX49" fmla="*/ 263366 w 9182100"/>
                <a:gd name="connsiteY49" fmla="*/ 115232 h 544245"/>
                <a:gd name="connsiteX50" fmla="*/ 81439 w 9182100"/>
                <a:gd name="connsiteY50" fmla="*/ 70369 h 544245"/>
                <a:gd name="connsiteX51" fmla="*/ 35338 w 9182100"/>
                <a:gd name="connsiteY51" fmla="*/ 57034 h 544245"/>
                <a:gd name="connsiteX52" fmla="*/ 0 w 9182100"/>
                <a:gd name="connsiteY52" fmla="*/ 46652 h 544245"/>
                <a:gd name="connsiteX53" fmla="*/ 0 w 9182100"/>
                <a:gd name="connsiteY53" fmla="*/ 426795 h 544245"/>
                <a:gd name="connsiteX54" fmla="*/ 178594 w 9182100"/>
                <a:gd name="connsiteY54" fmla="*/ 479658 h 544245"/>
                <a:gd name="connsiteX55" fmla="*/ 610457 w 9182100"/>
                <a:gd name="connsiteY55" fmla="*/ 542619 h 544245"/>
                <a:gd name="connsiteX56" fmla="*/ 826865 w 9182100"/>
                <a:gd name="connsiteY56" fmla="*/ 539666 h 544245"/>
                <a:gd name="connsiteX57" fmla="*/ 1039654 w 9182100"/>
                <a:gd name="connsiteY57" fmla="*/ 515187 h 544245"/>
                <a:gd name="connsiteX58" fmla="*/ 1449705 w 9182100"/>
                <a:gd name="connsiteY58" fmla="*/ 415270 h 544245"/>
                <a:gd name="connsiteX59" fmla="*/ 1548765 w 9182100"/>
                <a:gd name="connsiteY59" fmla="*/ 382123 h 544245"/>
                <a:gd name="connsiteX60" fmla="*/ 1642872 w 9182100"/>
                <a:gd name="connsiteY60" fmla="*/ 349261 h 544245"/>
                <a:gd name="connsiteX61" fmla="*/ 1832991 w 9182100"/>
                <a:gd name="connsiteY61" fmla="*/ 289158 h 544245"/>
                <a:gd name="connsiteX62" fmla="*/ 2222754 w 9182100"/>
                <a:gd name="connsiteY62" fmla="*/ 193623 h 544245"/>
                <a:gd name="connsiteX63" fmla="*/ 2620137 w 9182100"/>
                <a:gd name="connsiteY63" fmla="*/ 138378 h 544245"/>
                <a:gd name="connsiteX64" fmla="*/ 3020473 w 9182100"/>
                <a:gd name="connsiteY64" fmla="*/ 127234 h 544245"/>
                <a:gd name="connsiteX65" fmla="*/ 3219736 w 9182100"/>
                <a:gd name="connsiteY65" fmla="*/ 139807 h 544245"/>
                <a:gd name="connsiteX66" fmla="*/ 3318605 w 9182100"/>
                <a:gd name="connsiteY66" fmla="*/ 151713 h 544245"/>
                <a:gd name="connsiteX67" fmla="*/ 3367754 w 9182100"/>
                <a:gd name="connsiteY67" fmla="*/ 158666 h 544245"/>
                <a:gd name="connsiteX68" fmla="*/ 3416618 w 9182100"/>
                <a:gd name="connsiteY68" fmla="*/ 166858 h 544245"/>
                <a:gd name="connsiteX69" fmla="*/ 3465195 w 9182100"/>
                <a:gd name="connsiteY69" fmla="*/ 176097 h 544245"/>
                <a:gd name="connsiteX70" fmla="*/ 3513868 w 9182100"/>
                <a:gd name="connsiteY70" fmla="*/ 185908 h 544245"/>
                <a:gd name="connsiteX71" fmla="*/ 3612737 w 9182100"/>
                <a:gd name="connsiteY71" fmla="*/ 207625 h 544245"/>
                <a:gd name="connsiteX72" fmla="*/ 3810381 w 9182100"/>
                <a:gd name="connsiteY72" fmla="*/ 252106 h 544245"/>
                <a:gd name="connsiteX73" fmla="*/ 4206621 w 9182100"/>
                <a:gd name="connsiteY73" fmla="*/ 339736 h 544245"/>
                <a:gd name="connsiteX74" fmla="*/ 4306062 w 9182100"/>
                <a:gd name="connsiteY74" fmla="*/ 359834 h 544245"/>
                <a:gd name="connsiteX75" fmla="*/ 4405503 w 9182100"/>
                <a:gd name="connsiteY75" fmla="*/ 378979 h 544245"/>
                <a:gd name="connsiteX76" fmla="*/ 4611529 w 9182100"/>
                <a:gd name="connsiteY76" fmla="*/ 405745 h 544245"/>
                <a:gd name="connsiteX77" fmla="*/ 5031677 w 9182100"/>
                <a:gd name="connsiteY77" fmla="*/ 427462 h 544245"/>
                <a:gd name="connsiteX78" fmla="*/ 5243227 w 9182100"/>
                <a:gd name="connsiteY78" fmla="*/ 418699 h 544245"/>
                <a:gd name="connsiteX79" fmla="*/ 5451062 w 9182100"/>
                <a:gd name="connsiteY79" fmla="*/ 398029 h 544245"/>
                <a:gd name="connsiteX80" fmla="*/ 5844635 w 9182100"/>
                <a:gd name="connsiteY80" fmla="*/ 353071 h 544245"/>
                <a:gd name="connsiteX81" fmla="*/ 5939981 w 9182100"/>
                <a:gd name="connsiteY81" fmla="*/ 346975 h 544245"/>
                <a:gd name="connsiteX82" fmla="*/ 6035898 w 9182100"/>
                <a:gd name="connsiteY82" fmla="*/ 344118 h 544245"/>
                <a:gd name="connsiteX83" fmla="*/ 6232303 w 9182100"/>
                <a:gd name="connsiteY83" fmla="*/ 343642 h 544245"/>
                <a:gd name="connsiteX84" fmla="*/ 6630924 w 9182100"/>
                <a:gd name="connsiteY84" fmla="*/ 351071 h 544245"/>
                <a:gd name="connsiteX85" fmla="*/ 6831140 w 9182100"/>
                <a:gd name="connsiteY85" fmla="*/ 356596 h 544245"/>
                <a:gd name="connsiteX86" fmla="*/ 7031545 w 9182100"/>
                <a:gd name="connsiteY86" fmla="*/ 362501 h 544245"/>
                <a:gd name="connsiteX87" fmla="*/ 7432262 w 9182100"/>
                <a:gd name="connsiteY87" fmla="*/ 378408 h 544245"/>
                <a:gd name="connsiteX88" fmla="*/ 7830312 w 9182100"/>
                <a:gd name="connsiteY88" fmla="*/ 402506 h 544245"/>
                <a:gd name="connsiteX89" fmla="*/ 7879270 w 9182100"/>
                <a:gd name="connsiteY89" fmla="*/ 406792 h 544245"/>
                <a:gd name="connsiteX90" fmla="*/ 7926895 w 9182100"/>
                <a:gd name="connsiteY90" fmla="*/ 411745 h 544245"/>
                <a:gd name="connsiteX91" fmla="*/ 7977569 w 9182100"/>
                <a:gd name="connsiteY91" fmla="*/ 417175 h 544245"/>
                <a:gd name="connsiteX92" fmla="*/ 8030623 w 9182100"/>
                <a:gd name="connsiteY92" fmla="*/ 422127 h 544245"/>
                <a:gd name="connsiteX93" fmla="*/ 8237982 w 9182100"/>
                <a:gd name="connsiteY93" fmla="*/ 435177 h 544245"/>
                <a:gd name="connsiteX94" fmla="*/ 8647748 w 9182100"/>
                <a:gd name="connsiteY94" fmla="*/ 449464 h 544245"/>
                <a:gd name="connsiteX95" fmla="*/ 8852821 w 9182100"/>
                <a:gd name="connsiteY95" fmla="*/ 456132 h 544245"/>
                <a:gd name="connsiteX96" fmla="*/ 8955786 w 9182100"/>
                <a:gd name="connsiteY96" fmla="*/ 458132 h 544245"/>
                <a:gd name="connsiteX97" fmla="*/ 9059227 w 9182100"/>
                <a:gd name="connsiteY97" fmla="*/ 457751 h 544245"/>
                <a:gd name="connsiteX98" fmla="*/ 9182005 w 9182100"/>
                <a:gd name="connsiteY98" fmla="*/ 452512 h 544245"/>
                <a:gd name="connsiteX99" fmla="*/ 9182005 w 9182100"/>
                <a:gd name="connsiteY99" fmla="*/ 154189 h 544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9182100" h="544245">
                  <a:moveTo>
                    <a:pt x="9182100" y="154189"/>
                  </a:moveTo>
                  <a:cubicBezTo>
                    <a:pt x="9137618" y="157142"/>
                    <a:pt x="9092851" y="159904"/>
                    <a:pt x="9047702" y="162762"/>
                  </a:cubicBezTo>
                  <a:cubicBezTo>
                    <a:pt x="8917114" y="170668"/>
                    <a:pt x="8784717" y="178002"/>
                    <a:pt x="8652224" y="178287"/>
                  </a:cubicBezTo>
                  <a:cubicBezTo>
                    <a:pt x="8519732" y="178764"/>
                    <a:pt x="8387049" y="171239"/>
                    <a:pt x="8255603" y="161047"/>
                  </a:cubicBezTo>
                  <a:cubicBezTo>
                    <a:pt x="8189881" y="155904"/>
                    <a:pt x="8124539" y="149236"/>
                    <a:pt x="8060722" y="140854"/>
                  </a:cubicBezTo>
                  <a:cubicBezTo>
                    <a:pt x="8044815" y="138759"/>
                    <a:pt x="8029099" y="136473"/>
                    <a:pt x="8013478" y="134187"/>
                  </a:cubicBezTo>
                  <a:lnTo>
                    <a:pt x="7990428" y="130567"/>
                  </a:lnTo>
                  <a:lnTo>
                    <a:pt x="7964139" y="126853"/>
                  </a:lnTo>
                  <a:cubicBezTo>
                    <a:pt x="7946708" y="124376"/>
                    <a:pt x="7928896" y="121709"/>
                    <a:pt x="7911656" y="119518"/>
                  </a:cubicBezTo>
                  <a:lnTo>
                    <a:pt x="7860220" y="113232"/>
                  </a:lnTo>
                  <a:cubicBezTo>
                    <a:pt x="7723728" y="96277"/>
                    <a:pt x="7589044" y="83038"/>
                    <a:pt x="7453884" y="70369"/>
                  </a:cubicBezTo>
                  <a:cubicBezTo>
                    <a:pt x="7318915" y="57701"/>
                    <a:pt x="7184041" y="46366"/>
                    <a:pt x="7048976" y="36556"/>
                  </a:cubicBezTo>
                  <a:cubicBezTo>
                    <a:pt x="6981444" y="31793"/>
                    <a:pt x="6913912" y="26840"/>
                    <a:pt x="6846285" y="22649"/>
                  </a:cubicBezTo>
                  <a:cubicBezTo>
                    <a:pt x="6778657" y="18553"/>
                    <a:pt x="6710934" y="14934"/>
                    <a:pt x="6643212" y="11600"/>
                  </a:cubicBezTo>
                  <a:lnTo>
                    <a:pt x="6541485" y="7314"/>
                  </a:lnTo>
                  <a:cubicBezTo>
                    <a:pt x="6507576" y="5790"/>
                    <a:pt x="6473667" y="4647"/>
                    <a:pt x="6439567" y="3885"/>
                  </a:cubicBezTo>
                  <a:lnTo>
                    <a:pt x="6337459" y="1313"/>
                  </a:lnTo>
                  <a:lnTo>
                    <a:pt x="6234970" y="75"/>
                  </a:lnTo>
                  <a:cubicBezTo>
                    <a:pt x="6166295" y="-116"/>
                    <a:pt x="6097715" y="-116"/>
                    <a:pt x="6027802" y="2265"/>
                  </a:cubicBezTo>
                  <a:cubicBezTo>
                    <a:pt x="5993320" y="3123"/>
                    <a:pt x="5957412" y="4456"/>
                    <a:pt x="5921978" y="6552"/>
                  </a:cubicBezTo>
                  <a:cubicBezTo>
                    <a:pt x="5886546" y="8552"/>
                    <a:pt x="5851112" y="11124"/>
                    <a:pt x="5815965" y="14362"/>
                  </a:cubicBezTo>
                  <a:cubicBezTo>
                    <a:pt x="5674995" y="27126"/>
                    <a:pt x="5538597" y="48938"/>
                    <a:pt x="5408390" y="67036"/>
                  </a:cubicBezTo>
                  <a:cubicBezTo>
                    <a:pt x="5277993" y="85514"/>
                    <a:pt x="5151692" y="99039"/>
                    <a:pt x="5023866" y="103992"/>
                  </a:cubicBezTo>
                  <a:cubicBezTo>
                    <a:pt x="4960049" y="106660"/>
                    <a:pt x="4895946" y="107231"/>
                    <a:pt x="4831556" y="106374"/>
                  </a:cubicBezTo>
                  <a:cubicBezTo>
                    <a:pt x="4767167" y="105231"/>
                    <a:pt x="4702588" y="102468"/>
                    <a:pt x="4637723" y="98754"/>
                  </a:cubicBezTo>
                  <a:cubicBezTo>
                    <a:pt x="4572762" y="95230"/>
                    <a:pt x="4507992" y="88848"/>
                    <a:pt x="4442460" y="83038"/>
                  </a:cubicBezTo>
                  <a:cubicBezTo>
                    <a:pt x="4408837" y="80752"/>
                    <a:pt x="4375214" y="79228"/>
                    <a:pt x="4341686" y="77227"/>
                  </a:cubicBezTo>
                  <a:cubicBezTo>
                    <a:pt x="4308158" y="75227"/>
                    <a:pt x="4274534" y="73417"/>
                    <a:pt x="4241006" y="71989"/>
                  </a:cubicBezTo>
                  <a:cubicBezTo>
                    <a:pt x="4106895" y="65131"/>
                    <a:pt x="3971925" y="59797"/>
                    <a:pt x="3836956" y="54177"/>
                  </a:cubicBezTo>
                  <a:lnTo>
                    <a:pt x="3634549" y="45414"/>
                  </a:lnTo>
                  <a:lnTo>
                    <a:pt x="3533394" y="40461"/>
                  </a:lnTo>
                  <a:lnTo>
                    <a:pt x="3481959" y="37889"/>
                  </a:lnTo>
                  <a:cubicBezTo>
                    <a:pt x="3464719" y="37127"/>
                    <a:pt x="3447479" y="36079"/>
                    <a:pt x="3430238" y="35889"/>
                  </a:cubicBezTo>
                  <a:cubicBezTo>
                    <a:pt x="3292602" y="31126"/>
                    <a:pt x="3156299" y="33603"/>
                    <a:pt x="3020473" y="37603"/>
                  </a:cubicBezTo>
                  <a:cubicBezTo>
                    <a:pt x="2884741" y="41985"/>
                    <a:pt x="2749487" y="48843"/>
                    <a:pt x="2614422" y="56844"/>
                  </a:cubicBezTo>
                  <a:lnTo>
                    <a:pt x="2208657" y="81609"/>
                  </a:lnTo>
                  <a:cubicBezTo>
                    <a:pt x="2073116" y="89991"/>
                    <a:pt x="1937195" y="97515"/>
                    <a:pt x="1800606" y="107612"/>
                  </a:cubicBezTo>
                  <a:cubicBezTo>
                    <a:pt x="1732217" y="112184"/>
                    <a:pt x="1663827" y="117804"/>
                    <a:pt x="1594676" y="124948"/>
                  </a:cubicBezTo>
                  <a:lnTo>
                    <a:pt x="1491996" y="136568"/>
                  </a:lnTo>
                  <a:lnTo>
                    <a:pt x="1442942" y="141902"/>
                  </a:lnTo>
                  <a:lnTo>
                    <a:pt x="1418463" y="144664"/>
                  </a:lnTo>
                  <a:lnTo>
                    <a:pt x="1393984" y="146855"/>
                  </a:lnTo>
                  <a:cubicBezTo>
                    <a:pt x="1263491" y="159142"/>
                    <a:pt x="1134142" y="166667"/>
                    <a:pt x="1006697" y="169810"/>
                  </a:cubicBezTo>
                  <a:cubicBezTo>
                    <a:pt x="942975" y="172001"/>
                    <a:pt x="879729" y="171239"/>
                    <a:pt x="816864" y="170953"/>
                  </a:cubicBezTo>
                  <a:lnTo>
                    <a:pt x="769906" y="169715"/>
                  </a:lnTo>
                  <a:cubicBezTo>
                    <a:pt x="754285" y="169525"/>
                    <a:pt x="738569" y="169048"/>
                    <a:pt x="723043" y="168096"/>
                  </a:cubicBezTo>
                  <a:lnTo>
                    <a:pt x="676370" y="166286"/>
                  </a:lnTo>
                  <a:cubicBezTo>
                    <a:pt x="660845" y="165238"/>
                    <a:pt x="645414" y="164095"/>
                    <a:pt x="629888" y="163333"/>
                  </a:cubicBezTo>
                  <a:cubicBezTo>
                    <a:pt x="568071" y="159047"/>
                    <a:pt x="506540" y="154094"/>
                    <a:pt x="445484" y="146093"/>
                  </a:cubicBezTo>
                  <a:cubicBezTo>
                    <a:pt x="384524" y="137997"/>
                    <a:pt x="323850" y="128091"/>
                    <a:pt x="263366" y="115232"/>
                  </a:cubicBezTo>
                  <a:cubicBezTo>
                    <a:pt x="202787" y="102850"/>
                    <a:pt x="142589" y="87419"/>
                    <a:pt x="81439" y="70369"/>
                  </a:cubicBezTo>
                  <a:cubicBezTo>
                    <a:pt x="66199" y="66178"/>
                    <a:pt x="50864" y="61702"/>
                    <a:pt x="35338" y="57034"/>
                  </a:cubicBezTo>
                  <a:lnTo>
                    <a:pt x="0" y="46652"/>
                  </a:lnTo>
                  <a:lnTo>
                    <a:pt x="0" y="426795"/>
                  </a:lnTo>
                  <a:cubicBezTo>
                    <a:pt x="58198" y="446416"/>
                    <a:pt x="117920" y="464323"/>
                    <a:pt x="178594" y="479658"/>
                  </a:cubicBezTo>
                  <a:cubicBezTo>
                    <a:pt x="319850" y="514901"/>
                    <a:pt x="465582" y="537094"/>
                    <a:pt x="610457" y="542619"/>
                  </a:cubicBezTo>
                  <a:cubicBezTo>
                    <a:pt x="682943" y="545953"/>
                    <a:pt x="755142" y="543762"/>
                    <a:pt x="826865" y="539666"/>
                  </a:cubicBezTo>
                  <a:cubicBezTo>
                    <a:pt x="898398" y="534523"/>
                    <a:pt x="969645" y="526903"/>
                    <a:pt x="1039654" y="515187"/>
                  </a:cubicBezTo>
                  <a:cubicBezTo>
                    <a:pt x="1180052" y="492517"/>
                    <a:pt x="1316736" y="457751"/>
                    <a:pt x="1449705" y="415270"/>
                  </a:cubicBezTo>
                  <a:cubicBezTo>
                    <a:pt x="1483138" y="405364"/>
                    <a:pt x="1515809" y="393172"/>
                    <a:pt x="1548765" y="382123"/>
                  </a:cubicBezTo>
                  <a:lnTo>
                    <a:pt x="1642872" y="349261"/>
                  </a:lnTo>
                  <a:cubicBezTo>
                    <a:pt x="1705261" y="328211"/>
                    <a:pt x="1768983" y="308208"/>
                    <a:pt x="1832991" y="289158"/>
                  </a:cubicBezTo>
                  <a:cubicBezTo>
                    <a:pt x="1961198" y="251821"/>
                    <a:pt x="2091404" y="219435"/>
                    <a:pt x="2222754" y="193623"/>
                  </a:cubicBezTo>
                  <a:cubicBezTo>
                    <a:pt x="2354199" y="168382"/>
                    <a:pt x="2486882" y="149332"/>
                    <a:pt x="2620137" y="138378"/>
                  </a:cubicBezTo>
                  <a:cubicBezTo>
                    <a:pt x="2753392" y="127424"/>
                    <a:pt x="2887123" y="122947"/>
                    <a:pt x="3020473" y="127234"/>
                  </a:cubicBezTo>
                  <a:cubicBezTo>
                    <a:pt x="3087148" y="129043"/>
                    <a:pt x="3153632" y="133711"/>
                    <a:pt x="3219736" y="139807"/>
                  </a:cubicBezTo>
                  <a:cubicBezTo>
                    <a:pt x="3252788" y="143426"/>
                    <a:pt x="3285839" y="146760"/>
                    <a:pt x="3318605" y="151713"/>
                  </a:cubicBezTo>
                  <a:lnTo>
                    <a:pt x="3367754" y="158666"/>
                  </a:lnTo>
                  <a:cubicBezTo>
                    <a:pt x="3384042" y="161238"/>
                    <a:pt x="3400330" y="164000"/>
                    <a:pt x="3416618" y="166858"/>
                  </a:cubicBezTo>
                  <a:cubicBezTo>
                    <a:pt x="3432905" y="169525"/>
                    <a:pt x="3449003" y="172954"/>
                    <a:pt x="3465195" y="176097"/>
                  </a:cubicBezTo>
                  <a:cubicBezTo>
                    <a:pt x="3481483" y="179431"/>
                    <a:pt x="3497199" y="182288"/>
                    <a:pt x="3513868" y="185908"/>
                  </a:cubicBezTo>
                  <a:lnTo>
                    <a:pt x="3612737" y="207625"/>
                  </a:lnTo>
                  <a:lnTo>
                    <a:pt x="3810381" y="252106"/>
                  </a:lnTo>
                  <a:cubicBezTo>
                    <a:pt x="3942112" y="282015"/>
                    <a:pt x="4073843" y="312590"/>
                    <a:pt x="4206621" y="339736"/>
                  </a:cubicBezTo>
                  <a:cubicBezTo>
                    <a:pt x="4239768" y="346785"/>
                    <a:pt x="4272915" y="353452"/>
                    <a:pt x="4306062" y="359834"/>
                  </a:cubicBezTo>
                  <a:cubicBezTo>
                    <a:pt x="4339209" y="366216"/>
                    <a:pt x="4372356" y="372979"/>
                    <a:pt x="4405503" y="378979"/>
                  </a:cubicBezTo>
                  <a:cubicBezTo>
                    <a:pt x="4473416" y="389266"/>
                    <a:pt x="4542378" y="398410"/>
                    <a:pt x="4611529" y="405745"/>
                  </a:cubicBezTo>
                  <a:cubicBezTo>
                    <a:pt x="4749832" y="420794"/>
                    <a:pt x="4890326" y="428795"/>
                    <a:pt x="5031677" y="427462"/>
                  </a:cubicBezTo>
                  <a:cubicBezTo>
                    <a:pt x="5102352" y="426985"/>
                    <a:pt x="5173028" y="423747"/>
                    <a:pt x="5243227" y="418699"/>
                  </a:cubicBezTo>
                  <a:cubicBezTo>
                    <a:pt x="5313427" y="413650"/>
                    <a:pt x="5382959" y="406030"/>
                    <a:pt x="5451062" y="398029"/>
                  </a:cubicBezTo>
                  <a:cubicBezTo>
                    <a:pt x="5587651" y="381551"/>
                    <a:pt x="5717381" y="362501"/>
                    <a:pt x="5844635" y="353071"/>
                  </a:cubicBezTo>
                  <a:cubicBezTo>
                    <a:pt x="5876544" y="350690"/>
                    <a:pt x="5908262" y="348404"/>
                    <a:pt x="5939981" y="346975"/>
                  </a:cubicBezTo>
                  <a:cubicBezTo>
                    <a:pt x="5971794" y="345356"/>
                    <a:pt x="6003036" y="344308"/>
                    <a:pt x="6035898" y="344118"/>
                  </a:cubicBezTo>
                  <a:cubicBezTo>
                    <a:pt x="6100477" y="343070"/>
                    <a:pt x="6166390" y="343356"/>
                    <a:pt x="6232303" y="343642"/>
                  </a:cubicBezTo>
                  <a:cubicBezTo>
                    <a:pt x="6364415" y="344880"/>
                    <a:pt x="6497669" y="347833"/>
                    <a:pt x="6630924" y="351071"/>
                  </a:cubicBezTo>
                  <a:lnTo>
                    <a:pt x="6831140" y="356596"/>
                  </a:lnTo>
                  <a:lnTo>
                    <a:pt x="7031545" y="362501"/>
                  </a:lnTo>
                  <a:cubicBezTo>
                    <a:pt x="7165086" y="367454"/>
                    <a:pt x="7298818" y="371835"/>
                    <a:pt x="7432262" y="378408"/>
                  </a:cubicBezTo>
                  <a:cubicBezTo>
                    <a:pt x="7565518" y="384790"/>
                    <a:pt x="7699153" y="392124"/>
                    <a:pt x="7830312" y="402506"/>
                  </a:cubicBezTo>
                  <a:lnTo>
                    <a:pt x="7879270" y="406792"/>
                  </a:lnTo>
                  <a:lnTo>
                    <a:pt x="7926895" y="411745"/>
                  </a:lnTo>
                  <a:lnTo>
                    <a:pt x="7977569" y="417175"/>
                  </a:lnTo>
                  <a:cubicBezTo>
                    <a:pt x="7995380" y="418984"/>
                    <a:pt x="8013097" y="420699"/>
                    <a:pt x="8030623" y="422127"/>
                  </a:cubicBezTo>
                  <a:cubicBezTo>
                    <a:pt x="8100632" y="427843"/>
                    <a:pt x="8169402" y="431748"/>
                    <a:pt x="8237982" y="435177"/>
                  </a:cubicBezTo>
                  <a:cubicBezTo>
                    <a:pt x="8375047" y="442035"/>
                    <a:pt x="8511254" y="444511"/>
                    <a:pt x="8647748" y="449464"/>
                  </a:cubicBezTo>
                  <a:cubicBezTo>
                    <a:pt x="8715946" y="451750"/>
                    <a:pt x="8784336" y="454513"/>
                    <a:pt x="8852821" y="456132"/>
                  </a:cubicBezTo>
                  <a:cubicBezTo>
                    <a:pt x="8887111" y="456989"/>
                    <a:pt x="8921401" y="457751"/>
                    <a:pt x="8955786" y="458132"/>
                  </a:cubicBezTo>
                  <a:cubicBezTo>
                    <a:pt x="8990171" y="458323"/>
                    <a:pt x="9024651" y="458227"/>
                    <a:pt x="9059227" y="457751"/>
                  </a:cubicBezTo>
                  <a:cubicBezTo>
                    <a:pt x="9099995" y="456989"/>
                    <a:pt x="9140857" y="455275"/>
                    <a:pt x="9182005" y="452512"/>
                  </a:cubicBezTo>
                  <a:lnTo>
                    <a:pt x="9182005" y="154189"/>
                  </a:ln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  <p:sp useBgFill="1">
          <p:nvSpPr>
            <p:cNvPr id="62" name="Freeform: Shape 61">
              <a:extLst>
                <a:ext uri="{FF2B5EF4-FFF2-40B4-BE49-F238E27FC236}">
                  <a16:creationId xmlns:a16="http://schemas.microsoft.com/office/drawing/2014/main" id="{3916FBF2-1CC9-460D-A42B-FB77E515ECC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3614750"/>
              <a:ext cx="12188952" cy="1201528"/>
            </a:xfrm>
            <a:custGeom>
              <a:avLst/>
              <a:gdLst>
                <a:gd name="connsiteX0" fmla="*/ 0 w 9182100"/>
                <a:gd name="connsiteY0" fmla="*/ 1019102 h 1019102"/>
                <a:gd name="connsiteX1" fmla="*/ 9182100 w 9182100"/>
                <a:gd name="connsiteY1" fmla="*/ 1019102 h 1019102"/>
                <a:gd name="connsiteX2" fmla="*/ 9182100 w 9182100"/>
                <a:gd name="connsiteY2" fmla="*/ 273009 h 1019102"/>
                <a:gd name="connsiteX3" fmla="*/ 9065895 w 9182100"/>
                <a:gd name="connsiteY3" fmla="*/ 278343 h 1019102"/>
                <a:gd name="connsiteX4" fmla="*/ 8261890 w 9182100"/>
                <a:gd name="connsiteY4" fmla="*/ 257769 h 1019102"/>
                <a:gd name="connsiteX5" fmla="*/ 8038624 w 9182100"/>
                <a:gd name="connsiteY5" fmla="*/ 235956 h 1019102"/>
                <a:gd name="connsiteX6" fmla="*/ 7862221 w 9182100"/>
                <a:gd name="connsiteY6" fmla="*/ 213097 h 1019102"/>
                <a:gd name="connsiteX7" fmla="*/ 6238780 w 9182100"/>
                <a:gd name="connsiteY7" fmla="*/ 126419 h 1019102"/>
                <a:gd name="connsiteX8" fmla="*/ 5828729 w 9182100"/>
                <a:gd name="connsiteY8" fmla="*/ 142421 h 1019102"/>
                <a:gd name="connsiteX9" fmla="*/ 5227606 w 9182100"/>
                <a:gd name="connsiteY9" fmla="*/ 219764 h 1019102"/>
                <a:gd name="connsiteX10" fmla="*/ 4394359 w 9182100"/>
                <a:gd name="connsiteY10" fmla="*/ 190713 h 1019102"/>
                <a:gd name="connsiteX11" fmla="*/ 3789236 w 9182100"/>
                <a:gd name="connsiteY11" fmla="*/ 107655 h 1019102"/>
                <a:gd name="connsiteX12" fmla="*/ 3391567 w 9182100"/>
                <a:gd name="connsiteY12" fmla="*/ 30502 h 1019102"/>
                <a:gd name="connsiteX13" fmla="*/ 2180177 w 9182100"/>
                <a:gd name="connsiteY13" fmla="*/ 67745 h 1019102"/>
                <a:gd name="connsiteX14" fmla="*/ 1543336 w 9182100"/>
                <a:gd name="connsiteY14" fmla="*/ 209953 h 1019102"/>
                <a:gd name="connsiteX15" fmla="*/ 1276731 w 9182100"/>
                <a:gd name="connsiteY15" fmla="*/ 286439 h 1019102"/>
                <a:gd name="connsiteX16" fmla="*/ 441293 w 9182100"/>
                <a:gd name="connsiteY16" fmla="*/ 292345 h 1019102"/>
                <a:gd name="connsiteX17" fmla="*/ 0 w 9182100"/>
                <a:gd name="connsiteY17" fmla="*/ 135563 h 1019102"/>
                <a:gd name="connsiteX18" fmla="*/ 0 w 9182100"/>
                <a:gd name="connsiteY18" fmla="*/ 1019102 h 1019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182100" h="1019102">
                  <a:moveTo>
                    <a:pt x="0" y="1019102"/>
                  </a:moveTo>
                  <a:lnTo>
                    <a:pt x="9182100" y="1019102"/>
                  </a:lnTo>
                  <a:lnTo>
                    <a:pt x="9182100" y="273009"/>
                  </a:lnTo>
                  <a:cubicBezTo>
                    <a:pt x="9143429" y="275485"/>
                    <a:pt x="9104662" y="277200"/>
                    <a:pt x="9065895" y="278343"/>
                  </a:cubicBezTo>
                  <a:cubicBezTo>
                    <a:pt x="8798243" y="285201"/>
                    <a:pt x="8529066" y="277009"/>
                    <a:pt x="8261890" y="257769"/>
                  </a:cubicBezTo>
                  <a:cubicBezTo>
                    <a:pt x="8187024" y="251863"/>
                    <a:pt x="8112443" y="245386"/>
                    <a:pt x="8038624" y="235956"/>
                  </a:cubicBezTo>
                  <a:cubicBezTo>
                    <a:pt x="7980140" y="228051"/>
                    <a:pt x="7920228" y="219002"/>
                    <a:pt x="7862221" y="213097"/>
                  </a:cubicBezTo>
                  <a:cubicBezTo>
                    <a:pt x="7322439" y="159280"/>
                    <a:pt x="6780943" y="130991"/>
                    <a:pt x="6238780" y="126419"/>
                  </a:cubicBezTo>
                  <a:cubicBezTo>
                    <a:pt x="6102477" y="126324"/>
                    <a:pt x="5964745" y="128800"/>
                    <a:pt x="5828729" y="142421"/>
                  </a:cubicBezTo>
                  <a:cubicBezTo>
                    <a:pt x="5624703" y="162328"/>
                    <a:pt x="5429441" y="202048"/>
                    <a:pt x="5227606" y="219764"/>
                  </a:cubicBezTo>
                  <a:cubicBezTo>
                    <a:pt x="4950238" y="245767"/>
                    <a:pt x="4670393" y="228527"/>
                    <a:pt x="4394359" y="190713"/>
                  </a:cubicBezTo>
                  <a:cubicBezTo>
                    <a:pt x="4193381" y="163090"/>
                    <a:pt x="3988880" y="147755"/>
                    <a:pt x="3789236" y="107655"/>
                  </a:cubicBezTo>
                  <a:cubicBezTo>
                    <a:pt x="3660743" y="85271"/>
                    <a:pt x="3520249" y="51648"/>
                    <a:pt x="3391567" y="30502"/>
                  </a:cubicBezTo>
                  <a:cubicBezTo>
                    <a:pt x="2990469" y="-28553"/>
                    <a:pt x="2579370" y="5928"/>
                    <a:pt x="2180177" y="67745"/>
                  </a:cubicBezTo>
                  <a:cubicBezTo>
                    <a:pt x="1965198" y="103273"/>
                    <a:pt x="1751648" y="146136"/>
                    <a:pt x="1543336" y="209953"/>
                  </a:cubicBezTo>
                  <a:cubicBezTo>
                    <a:pt x="1456087" y="238528"/>
                    <a:pt x="1365885" y="264627"/>
                    <a:pt x="1276731" y="286439"/>
                  </a:cubicBezTo>
                  <a:cubicBezTo>
                    <a:pt x="1001173" y="335398"/>
                    <a:pt x="716471" y="346923"/>
                    <a:pt x="441293" y="292345"/>
                  </a:cubicBezTo>
                  <a:cubicBezTo>
                    <a:pt x="285655" y="263198"/>
                    <a:pt x="143923" y="198237"/>
                    <a:pt x="0" y="135563"/>
                  </a:cubicBezTo>
                  <a:lnTo>
                    <a:pt x="0" y="1019102"/>
                  </a:lnTo>
                  <a:close/>
                </a:path>
              </a:pathLst>
            </a:custGeom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0" name="Title 4">
            <a:extLst>
              <a:ext uri="{FF2B5EF4-FFF2-40B4-BE49-F238E27FC236}">
                <a16:creationId xmlns:a16="http://schemas.microsoft.com/office/drawing/2014/main" id="{CF0D488A-95DE-F9C5-98F7-1796124EB4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4628" y="4557234"/>
            <a:ext cx="3713007" cy="1509931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>
                <a:latin typeface="Futura Std Light"/>
              </a:rPr>
              <a:t>Health Disparities in the US</a:t>
            </a:r>
          </a:p>
        </p:txBody>
      </p:sp>
      <p:sp>
        <p:nvSpPr>
          <p:cNvPr id="51" name="Content Placeholder 11">
            <a:extLst>
              <a:ext uri="{FF2B5EF4-FFF2-40B4-BE49-F238E27FC236}">
                <a16:creationId xmlns:a16="http://schemas.microsoft.com/office/drawing/2014/main" id="{4060FF89-38FD-6C32-7065-626CA14A2B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03271" y="4551037"/>
            <a:ext cx="5593387" cy="205799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indent="0">
              <a:buNone/>
            </a:pPr>
            <a:r>
              <a:rPr lang="en-US" sz="1800">
                <a:latin typeface="Futura Std Light"/>
              </a:rPr>
              <a:t>Health disparities result from multiple factors, including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>
                <a:latin typeface="Futura Std Light"/>
              </a:rPr>
              <a:t>Poverty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>
                <a:latin typeface="Futura Std Light"/>
              </a:rPr>
              <a:t>Geographic location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>
                <a:latin typeface="Futura Std Light"/>
              </a:rPr>
              <a:t>Inadequate access to health car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>
                <a:latin typeface="Futura Std Light"/>
              </a:rPr>
              <a:t>Individual and behavioral factor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400">
                <a:latin typeface="Futura Std Light"/>
              </a:rPr>
              <a:t>Educational inequalities</a:t>
            </a:r>
          </a:p>
        </p:txBody>
      </p:sp>
    </p:spTree>
    <p:extLst>
      <p:ext uri="{BB962C8B-B14F-4D97-AF65-F5344CB8AC3E}">
        <p14:creationId xmlns:p14="http://schemas.microsoft.com/office/powerpoint/2010/main" val="28023685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3F4DB7D-8726-4FAC-05E5-64C902ADE1B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52" b="352"/>
          <a:stretch/>
        </p:blipFill>
        <p:spPr>
          <a:xfrm>
            <a:off x="-13650" y="-64008"/>
            <a:ext cx="12219300" cy="6937373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6795237-7087-1746-F71A-51D83AF8F9CE}"/>
              </a:ext>
            </a:extLst>
          </p:cNvPr>
          <p:cNvSpPr/>
          <p:nvPr/>
        </p:nvSpPr>
        <p:spPr>
          <a:xfrm>
            <a:off x="385851" y="170698"/>
            <a:ext cx="5887879" cy="6183920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557EE26-E8A9-A62B-2C40-ED5A739224DD}"/>
              </a:ext>
            </a:extLst>
          </p:cNvPr>
          <p:cNvSpPr/>
          <p:nvPr/>
        </p:nvSpPr>
        <p:spPr>
          <a:xfrm>
            <a:off x="444263" y="250851"/>
            <a:ext cx="5771052" cy="598572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77E4897-8BCD-37AF-431A-117A21F89E5F}"/>
              </a:ext>
            </a:extLst>
          </p:cNvPr>
          <p:cNvSpPr/>
          <p:nvPr/>
        </p:nvSpPr>
        <p:spPr>
          <a:xfrm>
            <a:off x="544040" y="367727"/>
            <a:ext cx="5571496" cy="5742893"/>
          </a:xfrm>
          <a:prstGeom prst="rect">
            <a:avLst/>
          </a:prstGeom>
          <a:solidFill>
            <a:schemeClr val="bg1"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60960" rIns="121920" bIns="60960" rtlCol="0" anchor="t"/>
          <a:lstStyle/>
          <a:p>
            <a:pPr lvl="0" algn="ctr"/>
            <a:r>
              <a:rPr lang="en-US" sz="3467">
                <a:solidFill>
                  <a:schemeClr val="tx1"/>
                </a:solidFill>
                <a:latin typeface="Futura Std Light" panose="020B0402020204020303"/>
                <a:ea typeface="Tahoma" panose="020B0604030504040204" pitchFamily="34" charset="0"/>
                <a:cs typeface="Calibri" panose="020F0502020204030204" pitchFamily="34" charset="0"/>
              </a:rPr>
              <a:t>Health Equity &amp; </a:t>
            </a:r>
          </a:p>
          <a:p>
            <a:pPr lvl="0" algn="ctr"/>
            <a:r>
              <a:rPr lang="en-US" sz="3467">
                <a:solidFill>
                  <a:schemeClr val="tx1"/>
                </a:solidFill>
                <a:latin typeface="Futura Std Light" panose="020B0402020204020303"/>
                <a:ea typeface="Tahoma" panose="020B0604030504040204" pitchFamily="34" charset="0"/>
                <a:cs typeface="Calibri" panose="020F0502020204030204" pitchFamily="34" charset="0"/>
              </a:rPr>
              <a:t>Social Determinants </a:t>
            </a:r>
          </a:p>
          <a:p>
            <a:pPr lvl="0" algn="ctr"/>
            <a:r>
              <a:rPr lang="en-US" sz="3467">
                <a:solidFill>
                  <a:schemeClr val="tx1"/>
                </a:solidFill>
                <a:latin typeface="Futura Std Light" panose="020B0402020204020303"/>
                <a:ea typeface="Tahoma" panose="020B0604030504040204" pitchFamily="34" charset="0"/>
                <a:cs typeface="Calibri" panose="020F0502020204030204" pitchFamily="34" charset="0"/>
              </a:rPr>
              <a:t>of Health</a:t>
            </a:r>
          </a:p>
          <a:p>
            <a:pPr>
              <a:lnSpc>
                <a:spcPct val="150000"/>
              </a:lnSpc>
            </a:pPr>
            <a:endParaRPr lang="en-US" sz="1600">
              <a:solidFill>
                <a:schemeClr val="tx1"/>
              </a:solidFill>
              <a:latin typeface="Futura Std Light" panose="020B0402020204020303"/>
              <a:ea typeface="Tahoma" panose="020B0604030504040204" pitchFamily="34" charset="0"/>
              <a:cs typeface="Calibri" panose="020F0502020204030204" pitchFamily="34" charset="0"/>
            </a:endParaRPr>
          </a:p>
          <a:p>
            <a:r>
              <a:rPr lang="en-US" sz="2400" b="1">
                <a:solidFill>
                  <a:srgbClr val="0057B7"/>
                </a:solidFill>
                <a:latin typeface="Futura Std Light" panose="020B0402020204020303"/>
                <a:ea typeface="Tahoma"/>
                <a:cs typeface="Calibri"/>
              </a:rPr>
              <a:t>Health equity (HE) </a:t>
            </a:r>
            <a:r>
              <a:rPr lang="en-US" sz="2400">
                <a:solidFill>
                  <a:srgbClr val="000000"/>
                </a:solidFill>
                <a:latin typeface="Futura Std Light" panose="020B0402020204020303"/>
                <a:ea typeface="Tahoma"/>
                <a:cs typeface="Calibri"/>
              </a:rPr>
              <a:t>is the state in which everyone has a fair and just opportunity to attain their highest level of health.</a:t>
            </a:r>
          </a:p>
          <a:p>
            <a:endParaRPr lang="en-US" sz="2400">
              <a:solidFill>
                <a:srgbClr val="000000"/>
              </a:solidFill>
              <a:latin typeface="Futura Std Light" panose="020B0402020204020303"/>
              <a:ea typeface="Tahoma" panose="020B0604030504040204" pitchFamily="34" charset="0"/>
              <a:cs typeface="Calibri" panose="020F0502020204030204" pitchFamily="34" charset="0"/>
            </a:endParaRPr>
          </a:p>
          <a:p>
            <a:r>
              <a:rPr lang="en-US" sz="2400">
                <a:solidFill>
                  <a:srgbClr val="000000"/>
                </a:solidFill>
                <a:latin typeface="Futura Std Light" panose="020B0402020204020303"/>
                <a:ea typeface="Tahoma" panose="020B0604030504040204" pitchFamily="34" charset="0"/>
                <a:cs typeface="Calibri" panose="020F0502020204030204" pitchFamily="34" charset="0"/>
              </a:rPr>
              <a:t>When we refer to </a:t>
            </a:r>
            <a:r>
              <a:rPr lang="en-US" sz="2400" b="1">
                <a:solidFill>
                  <a:srgbClr val="0057B7"/>
                </a:solidFill>
                <a:latin typeface="Futura Std Light" panose="020B0402020204020303"/>
                <a:ea typeface="Tahoma" panose="020B0604030504040204" pitchFamily="34" charset="0"/>
                <a:cs typeface="Calibri" panose="020F0502020204030204" pitchFamily="34" charset="0"/>
              </a:rPr>
              <a:t>social determinants of health – or SDOH – </a:t>
            </a:r>
            <a:r>
              <a:rPr lang="en-US" sz="2400">
                <a:solidFill>
                  <a:srgbClr val="000000"/>
                </a:solidFill>
                <a:latin typeface="Futura Std Light" panose="020B0402020204020303"/>
                <a:ea typeface="Tahoma" panose="020B0604030504040204" pitchFamily="34" charset="0"/>
                <a:cs typeface="Calibri" panose="020F0502020204030204" pitchFamily="34" charset="0"/>
              </a:rPr>
              <a:t>we are speaking about the non-medical factors that influence health outcomes. </a:t>
            </a:r>
          </a:p>
        </p:txBody>
      </p:sp>
    </p:spTree>
    <p:extLst>
      <p:ext uri="{BB962C8B-B14F-4D97-AF65-F5344CB8AC3E}">
        <p14:creationId xmlns:p14="http://schemas.microsoft.com/office/powerpoint/2010/main" val="31751523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1D9FE33B-60C5-96AF-450E-65219E4B12DF}"/>
              </a:ext>
            </a:extLst>
          </p:cNvPr>
          <p:cNvSpPr>
            <a:spLocks noGrp="1"/>
          </p:cNvSpPr>
          <p:nvPr/>
        </p:nvSpPr>
        <p:spPr>
          <a:xfrm>
            <a:off x="570711" y="2668813"/>
            <a:ext cx="4107083" cy="1520371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2C70BA"/>
                </a:solidFill>
                <a:latin typeface="Futura Std Light" panose="020B0402020204020303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2C70BA"/>
                </a:solidFill>
                <a:effectLst/>
                <a:uLnTx/>
                <a:uFillTx/>
                <a:latin typeface="Futura Std Light" panose="020B0402020204020303" pitchFamily="34" charset="0"/>
                <a:ea typeface="+mj-ea"/>
                <a:cs typeface="+mj-cs"/>
              </a:rPr>
              <a:t>CDC SDOH FRAMEWORK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956997-5BAF-8710-3A4B-CD3FBDF135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1212" y="813582"/>
            <a:ext cx="7384708" cy="5230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3496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27DA33C-33CF-C64B-AF31-7C8BFFC9DAF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53975"/>
            <a:ext cx="11029950" cy="885825"/>
          </a:xfrm>
        </p:spPr>
        <p:txBody>
          <a:bodyPr>
            <a:noAutofit/>
          </a:bodyPr>
          <a:lstStyle/>
          <a:p>
            <a:pPr algn="ctr"/>
            <a:r>
              <a:rPr lang="en-US">
                <a:latin typeface="Futura Std Light"/>
                <a:cs typeface="Calibri" panose="020F0502020204030204" pitchFamily="34" charset="0"/>
              </a:rPr>
              <a:t>Approaches to Address SDOH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ED33BE4-61BE-C07B-16EA-25EED0DEE330}"/>
              </a:ext>
            </a:extLst>
          </p:cNvPr>
          <p:cNvSpPr txBox="1"/>
          <p:nvPr/>
        </p:nvSpPr>
        <p:spPr>
          <a:xfrm>
            <a:off x="1601877" y="1645292"/>
            <a:ext cx="399414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Economic Stability</a:t>
            </a:r>
          </a:p>
          <a:p>
            <a:r>
              <a:rPr lang="en-US" sz="1200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Help people earn steady incomes that allow them to meet their health needs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4ADBF18-4692-3EEB-A955-9EE92802F13C}"/>
              </a:ext>
            </a:extLst>
          </p:cNvPr>
          <p:cNvSpPr txBox="1"/>
          <p:nvPr/>
        </p:nvSpPr>
        <p:spPr>
          <a:xfrm>
            <a:off x="1601877" y="2637333"/>
            <a:ext cx="3994147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Education Access and Quality</a:t>
            </a:r>
          </a:p>
          <a:p>
            <a:r>
              <a:rPr lang="en-US" sz="1200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Increase educational opportunities and help children and adolescents do well in school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370BB169-05A4-DA32-9FA5-C84BDDCDE93E}"/>
              </a:ext>
            </a:extLst>
          </p:cNvPr>
          <p:cNvSpPr txBox="1"/>
          <p:nvPr/>
        </p:nvSpPr>
        <p:spPr>
          <a:xfrm>
            <a:off x="1601878" y="3683911"/>
            <a:ext cx="399414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Health Care Access and Quality</a:t>
            </a:r>
          </a:p>
          <a:p>
            <a:r>
              <a:rPr lang="en-US" sz="1200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Increase access to comprehensive, high-quality health care services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E1710F7-9307-B271-5BEC-D3F793BDDAEE}"/>
              </a:ext>
            </a:extLst>
          </p:cNvPr>
          <p:cNvSpPr txBox="1"/>
          <p:nvPr/>
        </p:nvSpPr>
        <p:spPr>
          <a:xfrm>
            <a:off x="1601876" y="4684880"/>
            <a:ext cx="3994147" cy="646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200" b="1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Neighborhood and Built Environment</a:t>
            </a:r>
          </a:p>
          <a:p>
            <a:r>
              <a:rPr lang="en-US" sz="1200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Create neighborhoods and environments that promote health and safety.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26BC8B0-9B82-02FB-F374-6402485C67C3}"/>
              </a:ext>
            </a:extLst>
          </p:cNvPr>
          <p:cNvSpPr txBox="1"/>
          <p:nvPr/>
        </p:nvSpPr>
        <p:spPr>
          <a:xfrm>
            <a:off x="1601877" y="5846095"/>
            <a:ext cx="39941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Social and Community Context</a:t>
            </a:r>
          </a:p>
          <a:p>
            <a:r>
              <a:rPr lang="en-US" sz="1200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Increase social and community support.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6131632-331B-2B59-72D8-74590F13EF51}"/>
              </a:ext>
            </a:extLst>
          </p:cNvPr>
          <p:cNvSpPr/>
          <p:nvPr/>
        </p:nvSpPr>
        <p:spPr>
          <a:xfrm>
            <a:off x="1393831" y="1046019"/>
            <a:ext cx="3657600" cy="36576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Futura Std Light"/>
                <a:cs typeface="Calibri" panose="020F0502020204030204" pitchFamily="34" charset="0"/>
              </a:rPr>
              <a:t>Healthy People 2030 SDOH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2E369D4-31A6-18EF-82FF-A3CE5DB27D4E}"/>
              </a:ext>
            </a:extLst>
          </p:cNvPr>
          <p:cNvSpPr/>
          <p:nvPr/>
        </p:nvSpPr>
        <p:spPr>
          <a:xfrm>
            <a:off x="7164577" y="1049495"/>
            <a:ext cx="3657600" cy="36576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Futura Std Light"/>
                <a:cs typeface="Calibri" panose="020F0502020204030204" pitchFamily="34" charset="0"/>
              </a:rPr>
              <a:t>NCCDPHP’s SDOH Domai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4810B0-58E5-CAC3-9FCD-7BED6BE64293}"/>
              </a:ext>
            </a:extLst>
          </p:cNvPr>
          <p:cNvSpPr txBox="1"/>
          <p:nvPr/>
        </p:nvSpPr>
        <p:spPr>
          <a:xfrm>
            <a:off x="1" y="6580531"/>
            <a:ext cx="862676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Sources: </a:t>
            </a:r>
            <a:r>
              <a:rPr lang="en-US" sz="800">
                <a:solidFill>
                  <a:srgbClr val="0033CC"/>
                </a:solidFill>
                <a:latin typeface="Futura Std Ligh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cial Determinants of Health - Healthy People 2030 | health.gov</a:t>
            </a:r>
            <a:r>
              <a:rPr lang="en-US" sz="800">
                <a:solidFill>
                  <a:srgbClr val="0033CC"/>
                </a:solidFill>
                <a:latin typeface="Futura Std Light"/>
              </a:rPr>
              <a:t>; </a:t>
            </a:r>
            <a:r>
              <a:rPr lang="en-US" sz="800">
                <a:solidFill>
                  <a:srgbClr val="0033CC"/>
                </a:solidFill>
                <a:latin typeface="Futura Std Ligh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CCDPHP’s Approach to Social Determinants of Health | CDC</a:t>
            </a:r>
            <a:endParaRPr lang="en-US" sz="700">
              <a:solidFill>
                <a:srgbClr val="0033CC"/>
              </a:solidFill>
              <a:latin typeface="Futura Std Light"/>
              <a:cs typeface="Calibri" panose="020F0502020204030204" pitchFamily="34" charset="0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4BB21138-1479-AB29-3570-E822EDD76C69}"/>
              </a:ext>
            </a:extLst>
          </p:cNvPr>
          <p:cNvSpPr/>
          <p:nvPr/>
        </p:nvSpPr>
        <p:spPr>
          <a:xfrm>
            <a:off x="823659" y="1649642"/>
            <a:ext cx="693967" cy="693967"/>
          </a:xfrm>
          <a:prstGeom prst="ellipse">
            <a:avLst/>
          </a:prstGeom>
          <a:solidFill>
            <a:srgbClr val="18CEAB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Graphic 8" descr="Dollar with solid fill">
            <a:extLst>
              <a:ext uri="{FF2B5EF4-FFF2-40B4-BE49-F238E27FC236}">
                <a16:creationId xmlns:a16="http://schemas.microsoft.com/office/drawing/2014/main" id="{F588B682-B313-5C6D-8A89-31067D61B8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5859" y="1779599"/>
            <a:ext cx="457200" cy="457200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6AA19D11-109D-E52B-B436-595827BD6B8D}"/>
              </a:ext>
            </a:extLst>
          </p:cNvPr>
          <p:cNvSpPr/>
          <p:nvPr/>
        </p:nvSpPr>
        <p:spPr>
          <a:xfrm>
            <a:off x="820703" y="2651357"/>
            <a:ext cx="693967" cy="693967"/>
          </a:xfrm>
          <a:prstGeom prst="ellipse">
            <a:avLst/>
          </a:prstGeom>
          <a:solidFill>
            <a:srgbClr val="000066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Graphic 11" descr="Graduation cap with solid fill">
            <a:extLst>
              <a:ext uri="{FF2B5EF4-FFF2-40B4-BE49-F238E27FC236}">
                <a16:creationId xmlns:a16="http://schemas.microsoft.com/office/drawing/2014/main" id="{FCEDE604-19AB-4FCE-63CA-7011A16494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2191" y="2711221"/>
            <a:ext cx="548640" cy="548640"/>
          </a:xfrm>
          <a:prstGeom prst="rect">
            <a:avLst/>
          </a:prstGeom>
        </p:spPr>
      </p:pic>
      <p:sp>
        <p:nvSpPr>
          <p:cNvPr id="13" name="Oval 12">
            <a:extLst>
              <a:ext uri="{FF2B5EF4-FFF2-40B4-BE49-F238E27FC236}">
                <a16:creationId xmlns:a16="http://schemas.microsoft.com/office/drawing/2014/main" id="{293BD194-5E15-4402-FD98-5F2A49729338}"/>
              </a:ext>
            </a:extLst>
          </p:cNvPr>
          <p:cNvSpPr/>
          <p:nvPr/>
        </p:nvSpPr>
        <p:spPr>
          <a:xfrm>
            <a:off x="827477" y="3675482"/>
            <a:ext cx="693967" cy="693967"/>
          </a:xfrm>
          <a:prstGeom prst="ellipse">
            <a:avLst/>
          </a:prstGeom>
          <a:solidFill>
            <a:srgbClr val="F4605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EE21CB9-1DD5-9A91-A61F-CB3B809E2F45}"/>
              </a:ext>
            </a:extLst>
          </p:cNvPr>
          <p:cNvSpPr/>
          <p:nvPr/>
        </p:nvSpPr>
        <p:spPr>
          <a:xfrm>
            <a:off x="827477" y="4704365"/>
            <a:ext cx="693967" cy="693967"/>
          </a:xfrm>
          <a:prstGeom prst="ellipse">
            <a:avLst/>
          </a:prstGeom>
          <a:solidFill>
            <a:srgbClr val="00B0F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CB28571-A417-7D3A-0AF4-A034C6FDE1C6}"/>
              </a:ext>
            </a:extLst>
          </p:cNvPr>
          <p:cNvSpPr/>
          <p:nvPr/>
        </p:nvSpPr>
        <p:spPr>
          <a:xfrm>
            <a:off x="829846" y="5727194"/>
            <a:ext cx="693967" cy="693967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7" name="Graphic 16" descr="Medical with solid fill">
            <a:extLst>
              <a:ext uri="{FF2B5EF4-FFF2-40B4-BE49-F238E27FC236}">
                <a16:creationId xmlns:a16="http://schemas.microsoft.com/office/drawing/2014/main" id="{B4B05B6E-0CE4-288A-37F8-859177F7BFB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4419" y="3702423"/>
            <a:ext cx="640080" cy="64008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9" name="Graphic 18" descr="House with solid fill">
            <a:extLst>
              <a:ext uri="{FF2B5EF4-FFF2-40B4-BE49-F238E27FC236}">
                <a16:creationId xmlns:a16="http://schemas.microsoft.com/office/drawing/2014/main" id="{202A1E9E-8B81-FEFC-95CD-FD261E55ADC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75656" y="4943935"/>
            <a:ext cx="274320" cy="274320"/>
          </a:xfrm>
          <a:prstGeom prst="rect">
            <a:avLst/>
          </a:prstGeom>
        </p:spPr>
      </p:pic>
      <p:pic>
        <p:nvPicPr>
          <p:cNvPr id="30" name="Graphic 29" descr="Building with solid fill">
            <a:extLst>
              <a:ext uri="{FF2B5EF4-FFF2-40B4-BE49-F238E27FC236}">
                <a16:creationId xmlns:a16="http://schemas.microsoft.com/office/drawing/2014/main" id="{92AD7EC8-80F6-2032-52ED-28BAE548807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75859" y="4859691"/>
            <a:ext cx="365760" cy="365760"/>
          </a:xfrm>
          <a:prstGeom prst="rect">
            <a:avLst/>
          </a:prstGeom>
        </p:spPr>
      </p:pic>
      <p:pic>
        <p:nvPicPr>
          <p:cNvPr id="45" name="Graphic 44" descr="Group success with solid fill">
            <a:extLst>
              <a:ext uri="{FF2B5EF4-FFF2-40B4-BE49-F238E27FC236}">
                <a16:creationId xmlns:a16="http://schemas.microsoft.com/office/drawing/2014/main" id="{388957A9-6F61-99AD-34A9-99FA6F11734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55555" y="5836800"/>
            <a:ext cx="457200" cy="457200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70F958A3-30B9-F9F4-B751-3F0EB771FDFC}"/>
              </a:ext>
            </a:extLst>
          </p:cNvPr>
          <p:cNvSpPr txBox="1"/>
          <p:nvPr/>
        </p:nvSpPr>
        <p:spPr>
          <a:xfrm>
            <a:off x="7377154" y="1645292"/>
            <a:ext cx="4814847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Built Environment</a:t>
            </a:r>
          </a:p>
          <a:p>
            <a:r>
              <a:rPr lang="en-US" sz="1200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Human-made surroundings that influence overall community health and people’s behaviors that drive health.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F6BD058-17D0-E863-79C5-FE07A7A835B2}"/>
              </a:ext>
            </a:extLst>
          </p:cNvPr>
          <p:cNvSpPr txBox="1"/>
          <p:nvPr/>
        </p:nvSpPr>
        <p:spPr>
          <a:xfrm>
            <a:off x="7377154" y="2609626"/>
            <a:ext cx="4814847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Community-Clinical Linkages</a:t>
            </a:r>
          </a:p>
          <a:p>
            <a:r>
              <a:rPr lang="en-US" sz="1200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When people or groups have relationships that create a sense of belonging and being cared for, valued, and supported.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C89B153-FECC-7240-B03A-922C70CB5F00}"/>
              </a:ext>
            </a:extLst>
          </p:cNvPr>
          <p:cNvSpPr txBox="1"/>
          <p:nvPr/>
        </p:nvSpPr>
        <p:spPr>
          <a:xfrm>
            <a:off x="7377156" y="3683911"/>
            <a:ext cx="399414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Food and Nutrition Security</a:t>
            </a:r>
          </a:p>
          <a:p>
            <a:r>
              <a:rPr lang="en-US" sz="1200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Having reliable access to enough high-quality food to avoid hunger and stay health.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9639E6F-51CC-8F49-FCFE-CE1B86F1E62F}"/>
              </a:ext>
            </a:extLst>
          </p:cNvPr>
          <p:cNvSpPr txBox="1"/>
          <p:nvPr/>
        </p:nvSpPr>
        <p:spPr>
          <a:xfrm>
            <a:off x="7377153" y="4657172"/>
            <a:ext cx="4814847" cy="64633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200" b="1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Social Connectedness </a:t>
            </a:r>
          </a:p>
          <a:p>
            <a:r>
              <a:rPr lang="en-US" sz="1200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When people or groups have relationships that create a sense of belonging and being cared for, valued, and supported.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5C84215-ABC3-A6D2-430A-7F86F27D774A}"/>
              </a:ext>
            </a:extLst>
          </p:cNvPr>
          <p:cNvSpPr txBox="1"/>
          <p:nvPr/>
        </p:nvSpPr>
        <p:spPr>
          <a:xfrm>
            <a:off x="7377155" y="5698319"/>
            <a:ext cx="48148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Tobacco-Free Policy</a:t>
            </a:r>
          </a:p>
          <a:p>
            <a:r>
              <a:rPr lang="en-US" sz="1200">
                <a:solidFill>
                  <a:srgbClr val="000000"/>
                </a:solidFill>
                <a:latin typeface="Futura Std Light"/>
                <a:cs typeface="Calibri" panose="020F0502020204030204" pitchFamily="34" charset="0"/>
              </a:rPr>
              <a:t>Population-based preventive measures to reduce tobacco use and tobacco-related illness and death.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A930300E-5012-414F-158F-24C57B8B27CB}"/>
              </a:ext>
            </a:extLst>
          </p:cNvPr>
          <p:cNvSpPr/>
          <p:nvPr/>
        </p:nvSpPr>
        <p:spPr>
          <a:xfrm>
            <a:off x="6595981" y="2651357"/>
            <a:ext cx="693967" cy="693967"/>
          </a:xfrm>
          <a:prstGeom prst="ellipse">
            <a:avLst/>
          </a:prstGeom>
          <a:solidFill>
            <a:srgbClr val="00006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6" name="Graphic 55" descr="Graduation cap with solid fill">
            <a:extLst>
              <a:ext uri="{FF2B5EF4-FFF2-40B4-BE49-F238E27FC236}">
                <a16:creationId xmlns:a16="http://schemas.microsoft.com/office/drawing/2014/main" id="{338D23A9-CB5F-02D9-991A-CB200676BEA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77467" y="2711221"/>
            <a:ext cx="548640" cy="548640"/>
          </a:xfrm>
          <a:prstGeom prst="rect">
            <a:avLst/>
          </a:prstGeom>
        </p:spPr>
      </p:pic>
      <p:sp>
        <p:nvSpPr>
          <p:cNvPr id="57" name="Oval 56">
            <a:extLst>
              <a:ext uri="{FF2B5EF4-FFF2-40B4-BE49-F238E27FC236}">
                <a16:creationId xmlns:a16="http://schemas.microsoft.com/office/drawing/2014/main" id="{EA2616C6-31BC-F730-7C4B-C53B670ADCDC}"/>
              </a:ext>
            </a:extLst>
          </p:cNvPr>
          <p:cNvSpPr/>
          <p:nvPr/>
        </p:nvSpPr>
        <p:spPr>
          <a:xfrm>
            <a:off x="6602754" y="3675482"/>
            <a:ext cx="693967" cy="69396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04BADBA9-2AAD-CFB8-8B93-447908D7BF54}"/>
              </a:ext>
            </a:extLst>
          </p:cNvPr>
          <p:cNvSpPr/>
          <p:nvPr/>
        </p:nvSpPr>
        <p:spPr>
          <a:xfrm>
            <a:off x="6602754" y="4704365"/>
            <a:ext cx="693967" cy="693967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F829FE2C-C530-6741-DE63-652E6C341E8A}"/>
              </a:ext>
            </a:extLst>
          </p:cNvPr>
          <p:cNvSpPr/>
          <p:nvPr/>
        </p:nvSpPr>
        <p:spPr>
          <a:xfrm>
            <a:off x="6605122" y="5727194"/>
            <a:ext cx="693967" cy="693967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4" name="Graphic 63" descr="Medical with solid fill">
            <a:extLst>
              <a:ext uri="{FF2B5EF4-FFF2-40B4-BE49-F238E27FC236}">
                <a16:creationId xmlns:a16="http://schemas.microsoft.com/office/drawing/2014/main" id="{264BE016-FE9E-79F6-EE9E-824B77579B4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629695" y="3702423"/>
            <a:ext cx="640080" cy="640080"/>
          </a:xfrm>
          <a:prstGeom prst="rect">
            <a:avLst/>
          </a:prstGeom>
        </p:spPr>
      </p:pic>
      <p:pic>
        <p:nvPicPr>
          <p:cNvPr id="66" name="Graphic 65" descr="House with solid fill">
            <a:extLst>
              <a:ext uri="{FF2B5EF4-FFF2-40B4-BE49-F238E27FC236}">
                <a16:creationId xmlns:a16="http://schemas.microsoft.com/office/drawing/2014/main" id="{1F12B6A6-67A5-FD9E-3170-198ECEEA163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50933" y="4943935"/>
            <a:ext cx="274320" cy="274320"/>
          </a:xfrm>
          <a:prstGeom prst="rect">
            <a:avLst/>
          </a:prstGeom>
        </p:spPr>
      </p:pic>
      <p:pic>
        <p:nvPicPr>
          <p:cNvPr id="67" name="Graphic 66" descr="Building with solid fill">
            <a:extLst>
              <a:ext uri="{FF2B5EF4-FFF2-40B4-BE49-F238E27FC236}">
                <a16:creationId xmlns:a16="http://schemas.microsoft.com/office/drawing/2014/main" id="{B6F0DCFE-6EE7-8278-452C-770AF17FE9A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651136" y="4859691"/>
            <a:ext cx="365760" cy="365760"/>
          </a:xfrm>
          <a:prstGeom prst="rect">
            <a:avLst/>
          </a:prstGeom>
        </p:spPr>
      </p:pic>
      <p:pic>
        <p:nvPicPr>
          <p:cNvPr id="68" name="Graphic 67" descr="Group success with solid fill">
            <a:extLst>
              <a:ext uri="{FF2B5EF4-FFF2-40B4-BE49-F238E27FC236}">
                <a16:creationId xmlns:a16="http://schemas.microsoft.com/office/drawing/2014/main" id="{6ED91686-808D-6B66-8AEE-B3AEBB1F382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730831" y="5836800"/>
            <a:ext cx="457200" cy="457200"/>
          </a:xfrm>
          <a:prstGeom prst="rect">
            <a:avLst/>
          </a:prstGeom>
        </p:spPr>
      </p:pic>
      <p:sp>
        <p:nvSpPr>
          <p:cNvPr id="69" name="Oval 68">
            <a:extLst>
              <a:ext uri="{FF2B5EF4-FFF2-40B4-BE49-F238E27FC236}">
                <a16:creationId xmlns:a16="http://schemas.microsoft.com/office/drawing/2014/main" id="{A2D0A35B-271A-1DE1-8C32-3CD30F7995EB}"/>
              </a:ext>
            </a:extLst>
          </p:cNvPr>
          <p:cNvSpPr/>
          <p:nvPr/>
        </p:nvSpPr>
        <p:spPr>
          <a:xfrm>
            <a:off x="6590827" y="1653553"/>
            <a:ext cx="694944" cy="694944"/>
          </a:xfrm>
          <a:prstGeom prst="ellipse">
            <a:avLst/>
          </a:prstGeom>
          <a:solidFill>
            <a:schemeClr val="bg1"/>
          </a:solidFill>
          <a:ln w="38100">
            <a:solidFill>
              <a:srgbClr val="9CE09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0" name="Picture 69" descr="Logo, icon&#10;&#10;Description automatically generated">
            <a:extLst>
              <a:ext uri="{FF2B5EF4-FFF2-40B4-BE49-F238E27FC236}">
                <a16:creationId xmlns:a16="http://schemas.microsoft.com/office/drawing/2014/main" id="{4E21B07A-54B5-C3DC-BCC1-45DEC27EC3A7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11270" t="9852" r="12456" b="15614"/>
          <a:stretch/>
        </p:blipFill>
        <p:spPr>
          <a:xfrm>
            <a:off x="6662139" y="1714142"/>
            <a:ext cx="548640" cy="534537"/>
          </a:xfrm>
          <a:prstGeom prst="rect">
            <a:avLst/>
          </a:prstGeom>
        </p:spPr>
      </p:pic>
      <p:sp>
        <p:nvSpPr>
          <p:cNvPr id="72" name="Oval 71">
            <a:extLst>
              <a:ext uri="{FF2B5EF4-FFF2-40B4-BE49-F238E27FC236}">
                <a16:creationId xmlns:a16="http://schemas.microsoft.com/office/drawing/2014/main" id="{AA00A7C5-6EAC-40DA-362A-60FBCA630B21}"/>
              </a:ext>
            </a:extLst>
          </p:cNvPr>
          <p:cNvSpPr/>
          <p:nvPr/>
        </p:nvSpPr>
        <p:spPr>
          <a:xfrm>
            <a:off x="6601520" y="1653855"/>
            <a:ext cx="694944" cy="694944"/>
          </a:xfrm>
          <a:prstGeom prst="ellipse">
            <a:avLst/>
          </a:prstGeom>
          <a:noFill/>
          <a:ln w="38100">
            <a:solidFill>
              <a:srgbClr val="9CE09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E6A1BD87-5AFE-C7B6-ADE2-F337DA98DB63}"/>
              </a:ext>
            </a:extLst>
          </p:cNvPr>
          <p:cNvSpPr/>
          <p:nvPr/>
        </p:nvSpPr>
        <p:spPr>
          <a:xfrm>
            <a:off x="6590827" y="2650867"/>
            <a:ext cx="694944" cy="694944"/>
          </a:xfrm>
          <a:prstGeom prst="ellipse">
            <a:avLst/>
          </a:prstGeom>
          <a:solidFill>
            <a:schemeClr val="bg1"/>
          </a:solidFill>
          <a:ln w="34925">
            <a:solidFill>
              <a:srgbClr val="9AC5E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4" name="Picture 73" descr="Icon&#10;&#10;Description automatically generated">
            <a:extLst>
              <a:ext uri="{FF2B5EF4-FFF2-40B4-BE49-F238E27FC236}">
                <a16:creationId xmlns:a16="http://schemas.microsoft.com/office/drawing/2014/main" id="{BCA7187B-4E21-16F9-0355-8B5D28046C1C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l="13099" t="8725" r="12782" b="14650"/>
          <a:stretch/>
        </p:blipFill>
        <p:spPr>
          <a:xfrm>
            <a:off x="6676833" y="2707623"/>
            <a:ext cx="527423" cy="548640"/>
          </a:xfrm>
          <a:prstGeom prst="rect">
            <a:avLst/>
          </a:prstGeom>
        </p:spPr>
      </p:pic>
      <p:sp>
        <p:nvSpPr>
          <p:cNvPr id="75" name="Oval 74">
            <a:extLst>
              <a:ext uri="{FF2B5EF4-FFF2-40B4-BE49-F238E27FC236}">
                <a16:creationId xmlns:a16="http://schemas.microsoft.com/office/drawing/2014/main" id="{B8F7D1B1-FA70-8FBF-68D3-88454349AF21}"/>
              </a:ext>
            </a:extLst>
          </p:cNvPr>
          <p:cNvSpPr/>
          <p:nvPr/>
        </p:nvSpPr>
        <p:spPr>
          <a:xfrm>
            <a:off x="6602723" y="2652760"/>
            <a:ext cx="694944" cy="694944"/>
          </a:xfrm>
          <a:prstGeom prst="ellipse">
            <a:avLst/>
          </a:prstGeom>
          <a:noFill/>
          <a:ln w="38100">
            <a:solidFill>
              <a:srgbClr val="9AC5E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92243328-D5DF-AF96-23FC-4D531570ACB6}"/>
              </a:ext>
            </a:extLst>
          </p:cNvPr>
          <p:cNvSpPr/>
          <p:nvPr/>
        </p:nvSpPr>
        <p:spPr>
          <a:xfrm>
            <a:off x="6598815" y="3680913"/>
            <a:ext cx="694944" cy="694944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7" name="Picture 76" descr="Icon&#10;&#10;Description automatically generated">
            <a:extLst>
              <a:ext uri="{FF2B5EF4-FFF2-40B4-BE49-F238E27FC236}">
                <a16:creationId xmlns:a16="http://schemas.microsoft.com/office/drawing/2014/main" id="{7D82321C-54BE-A745-0F75-C681EDA5824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588074" y="3671385"/>
            <a:ext cx="710044" cy="713232"/>
          </a:xfrm>
          <a:prstGeom prst="rect">
            <a:avLst/>
          </a:prstGeom>
        </p:spPr>
      </p:pic>
      <p:sp>
        <p:nvSpPr>
          <p:cNvPr id="78" name="Oval 77">
            <a:extLst>
              <a:ext uri="{FF2B5EF4-FFF2-40B4-BE49-F238E27FC236}">
                <a16:creationId xmlns:a16="http://schemas.microsoft.com/office/drawing/2014/main" id="{3D0D9AE1-4B85-84C6-10BD-45C97497DF63}"/>
              </a:ext>
            </a:extLst>
          </p:cNvPr>
          <p:cNvSpPr/>
          <p:nvPr/>
        </p:nvSpPr>
        <p:spPr>
          <a:xfrm>
            <a:off x="6592384" y="3683005"/>
            <a:ext cx="694944" cy="694944"/>
          </a:xfrm>
          <a:prstGeom prst="ellipse">
            <a:avLst/>
          </a:prstGeom>
          <a:noFill/>
          <a:ln w="38100">
            <a:solidFill>
              <a:srgbClr val="7DF0E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54D00FE5-97CA-4F95-86B4-BF379C5F9756}"/>
              </a:ext>
            </a:extLst>
          </p:cNvPr>
          <p:cNvSpPr/>
          <p:nvPr/>
        </p:nvSpPr>
        <p:spPr>
          <a:xfrm>
            <a:off x="6604824" y="4711663"/>
            <a:ext cx="694944" cy="694944"/>
          </a:xfrm>
          <a:prstGeom prst="ellipse">
            <a:avLst/>
          </a:prstGeom>
          <a:solidFill>
            <a:schemeClr val="bg1"/>
          </a:solidFill>
          <a:ln w="34925">
            <a:solidFill>
              <a:srgbClr val="FAD41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0" name="Picture 79" descr="Logo&#10;&#10;Description automatically generated">
            <a:extLst>
              <a:ext uri="{FF2B5EF4-FFF2-40B4-BE49-F238E27FC236}">
                <a16:creationId xmlns:a16="http://schemas.microsoft.com/office/drawing/2014/main" id="{272B3AF5-B242-74F8-DBC6-F4AA4C4A158F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601988" y="4697181"/>
            <a:ext cx="709357" cy="704088"/>
          </a:xfrm>
          <a:prstGeom prst="rect">
            <a:avLst/>
          </a:prstGeom>
        </p:spPr>
      </p:pic>
      <p:sp>
        <p:nvSpPr>
          <p:cNvPr id="81" name="Oval 80">
            <a:extLst>
              <a:ext uri="{FF2B5EF4-FFF2-40B4-BE49-F238E27FC236}">
                <a16:creationId xmlns:a16="http://schemas.microsoft.com/office/drawing/2014/main" id="{32D24666-EE57-4170-DD67-FD3C0DB549D1}"/>
              </a:ext>
            </a:extLst>
          </p:cNvPr>
          <p:cNvSpPr/>
          <p:nvPr/>
        </p:nvSpPr>
        <p:spPr>
          <a:xfrm>
            <a:off x="6611959" y="4711428"/>
            <a:ext cx="694944" cy="694944"/>
          </a:xfrm>
          <a:prstGeom prst="ellipse">
            <a:avLst/>
          </a:prstGeom>
          <a:noFill/>
          <a:ln w="38100">
            <a:solidFill>
              <a:srgbClr val="FAD41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FE7BFFB8-7ED1-DA4C-6A59-7366E8F59A4E}"/>
              </a:ext>
            </a:extLst>
          </p:cNvPr>
          <p:cNvSpPr/>
          <p:nvPr/>
        </p:nvSpPr>
        <p:spPr>
          <a:xfrm>
            <a:off x="6597729" y="5704431"/>
            <a:ext cx="694944" cy="694944"/>
          </a:xfrm>
          <a:prstGeom prst="ellipse">
            <a:avLst/>
          </a:prstGeom>
          <a:solidFill>
            <a:schemeClr val="bg1"/>
          </a:solidFill>
          <a:ln w="34925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4" name="Picture 83" descr="Icon&#10;&#10;Description automatically generated">
            <a:extLst>
              <a:ext uri="{FF2B5EF4-FFF2-40B4-BE49-F238E27FC236}">
                <a16:creationId xmlns:a16="http://schemas.microsoft.com/office/drawing/2014/main" id="{9CA46881-13C2-A11A-0113-F677A6B9144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597243" y="5700297"/>
            <a:ext cx="693968" cy="703347"/>
          </a:xfrm>
          <a:prstGeom prst="rect">
            <a:avLst/>
          </a:prstGeom>
        </p:spPr>
      </p:pic>
      <p:sp>
        <p:nvSpPr>
          <p:cNvPr id="85" name="Oval 84">
            <a:extLst>
              <a:ext uri="{FF2B5EF4-FFF2-40B4-BE49-F238E27FC236}">
                <a16:creationId xmlns:a16="http://schemas.microsoft.com/office/drawing/2014/main" id="{23A1CF76-D13F-B02B-9047-4D64267E694D}"/>
              </a:ext>
            </a:extLst>
          </p:cNvPr>
          <p:cNvSpPr/>
          <p:nvPr/>
        </p:nvSpPr>
        <p:spPr>
          <a:xfrm>
            <a:off x="6597729" y="5706167"/>
            <a:ext cx="694944" cy="694944"/>
          </a:xfrm>
          <a:prstGeom prst="ellipse">
            <a:avLst/>
          </a:prstGeom>
          <a:noFill/>
          <a:ln w="38100">
            <a:solidFill>
              <a:srgbClr val="F8A09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55359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Box 99">
            <a:extLst>
              <a:ext uri="{FF2B5EF4-FFF2-40B4-BE49-F238E27FC236}">
                <a16:creationId xmlns:a16="http://schemas.microsoft.com/office/drawing/2014/main" id="{5BC50AC8-ADFD-09BA-1675-A007FDB29F64}"/>
              </a:ext>
            </a:extLst>
          </p:cNvPr>
          <p:cNvSpPr txBox="1"/>
          <p:nvPr/>
        </p:nvSpPr>
        <p:spPr>
          <a:xfrm>
            <a:off x="7734925" y="1521568"/>
            <a:ext cx="209350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1100" b="1">
                <a:solidFill>
                  <a:srgbClr val="000000"/>
                </a:solidFill>
                <a:latin typeface="Futura Std Light" panose="020B0402020204020303"/>
                <a:cs typeface="Calibri" panose="020F0502020204030204" pitchFamily="34" charset="0"/>
              </a:rPr>
              <a:t>NCCDPHP New Measures for Population Level Analysis and Community Estimates: 2023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BC03A75-11E8-82E6-2145-30102D508EB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00013"/>
            <a:ext cx="11547475" cy="877887"/>
          </a:xfrm>
        </p:spPr>
        <p:txBody>
          <a:bodyPr/>
          <a:lstStyle/>
          <a:p>
            <a:r>
              <a:rPr lang="en-US">
                <a:latin typeface="Futura Std Light" panose="020B0402020204020303"/>
              </a:rPr>
              <a:t>Examples of SDOH Activities and Program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2152355-BED8-B5E0-2266-14633DB8F7F3}"/>
              </a:ext>
            </a:extLst>
          </p:cNvPr>
          <p:cNvSpPr/>
          <p:nvPr/>
        </p:nvSpPr>
        <p:spPr>
          <a:xfrm>
            <a:off x="7102264" y="2473489"/>
            <a:ext cx="1911019" cy="1911019"/>
          </a:xfrm>
          <a:prstGeom prst="ellipse">
            <a:avLst/>
          </a:prstGeom>
          <a:solidFill>
            <a:srgbClr val="3CE9D4">
              <a:alpha val="75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676E8C3-B214-6C2F-D3F7-6C1CA0FAD428}"/>
              </a:ext>
            </a:extLst>
          </p:cNvPr>
          <p:cNvSpPr/>
          <p:nvPr/>
        </p:nvSpPr>
        <p:spPr>
          <a:xfrm>
            <a:off x="9868197" y="2338139"/>
            <a:ext cx="1911019" cy="1911019"/>
          </a:xfrm>
          <a:prstGeom prst="ellipse">
            <a:avLst/>
          </a:prstGeom>
          <a:solidFill>
            <a:srgbClr val="256596">
              <a:alpha val="75686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8007A0A-176B-A4EA-B5DF-437B88E8B2FA}"/>
              </a:ext>
            </a:extLst>
          </p:cNvPr>
          <p:cNvSpPr/>
          <p:nvPr/>
        </p:nvSpPr>
        <p:spPr>
          <a:xfrm>
            <a:off x="1082743" y="2382253"/>
            <a:ext cx="1828800" cy="1828800"/>
          </a:xfrm>
          <a:prstGeom prst="ellipse">
            <a:avLst/>
          </a:prstGeom>
          <a:solidFill>
            <a:srgbClr val="2F78BC">
              <a:alpha val="68000"/>
            </a:srgb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4CD32846-5840-846E-C906-7E7911690B21}"/>
              </a:ext>
            </a:extLst>
          </p:cNvPr>
          <p:cNvSpPr/>
          <p:nvPr/>
        </p:nvSpPr>
        <p:spPr>
          <a:xfrm>
            <a:off x="2179697" y="2383359"/>
            <a:ext cx="1828800" cy="1828800"/>
          </a:xfrm>
          <a:prstGeom prst="ellipse">
            <a:avLst/>
          </a:prstGeom>
          <a:solidFill>
            <a:srgbClr val="0F8577">
              <a:alpha val="70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337562C-8FDB-C3A9-897E-DF226E53752D}"/>
              </a:ext>
            </a:extLst>
          </p:cNvPr>
          <p:cNvSpPr/>
          <p:nvPr/>
        </p:nvSpPr>
        <p:spPr>
          <a:xfrm>
            <a:off x="3646982" y="2738486"/>
            <a:ext cx="1371600" cy="1371600"/>
          </a:xfrm>
          <a:prstGeom prst="ellipse">
            <a:avLst/>
          </a:prstGeom>
          <a:solidFill>
            <a:srgbClr val="0F8577">
              <a:alpha val="55686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082F6D3A-680F-6E57-2896-9D76DD17565A}"/>
              </a:ext>
            </a:extLst>
          </p:cNvPr>
          <p:cNvSpPr/>
          <p:nvPr/>
        </p:nvSpPr>
        <p:spPr>
          <a:xfrm>
            <a:off x="8824207" y="2743200"/>
            <a:ext cx="1371600" cy="1371600"/>
          </a:xfrm>
          <a:prstGeom prst="ellipse">
            <a:avLst/>
          </a:prstGeom>
          <a:solidFill>
            <a:srgbClr val="FAD416">
              <a:alpha val="54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A3C2BFC-C150-5612-8001-11279A804313}"/>
              </a:ext>
            </a:extLst>
          </p:cNvPr>
          <p:cNvSpPr/>
          <p:nvPr/>
        </p:nvSpPr>
        <p:spPr>
          <a:xfrm>
            <a:off x="8315472" y="3012806"/>
            <a:ext cx="822960" cy="822960"/>
          </a:xfrm>
          <a:prstGeom prst="ellipse">
            <a:avLst/>
          </a:prstGeom>
          <a:solidFill>
            <a:srgbClr val="3CE9D4">
              <a:alpha val="48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5DC523E0-0826-E228-435F-9CC4DCB9287A}"/>
              </a:ext>
            </a:extLst>
          </p:cNvPr>
          <p:cNvSpPr/>
          <p:nvPr/>
        </p:nvSpPr>
        <p:spPr>
          <a:xfrm>
            <a:off x="11029950" y="2875646"/>
            <a:ext cx="1097280" cy="1097280"/>
          </a:xfrm>
          <a:prstGeom prst="ellipse">
            <a:avLst/>
          </a:prstGeom>
          <a:solidFill>
            <a:srgbClr val="256596">
              <a:alpha val="79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38DC625-4FCA-33FD-EE87-A0B6A5F81973}"/>
              </a:ext>
            </a:extLst>
          </p:cNvPr>
          <p:cNvSpPr/>
          <p:nvPr/>
        </p:nvSpPr>
        <p:spPr>
          <a:xfrm>
            <a:off x="353478" y="2738486"/>
            <a:ext cx="1371600" cy="1371600"/>
          </a:xfrm>
          <a:prstGeom prst="ellipse">
            <a:avLst/>
          </a:prstGeom>
          <a:solidFill>
            <a:srgbClr val="2F78BC">
              <a:alpha val="73725"/>
            </a:srgb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D0A0A2A-E51F-1E30-2CB2-27A0F2B70769}"/>
              </a:ext>
            </a:extLst>
          </p:cNvPr>
          <p:cNvSpPr/>
          <p:nvPr/>
        </p:nvSpPr>
        <p:spPr>
          <a:xfrm>
            <a:off x="39897" y="2971800"/>
            <a:ext cx="914400" cy="914400"/>
          </a:xfrm>
          <a:prstGeom prst="ellipse">
            <a:avLst/>
          </a:prstGeom>
          <a:solidFill>
            <a:srgbClr val="2F78BC">
              <a:alpha val="68000"/>
            </a:srgb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5C63E97-8A4E-AFC4-ACC0-2A8361F47F6F}"/>
              </a:ext>
            </a:extLst>
          </p:cNvPr>
          <p:cNvSpPr/>
          <p:nvPr/>
        </p:nvSpPr>
        <p:spPr>
          <a:xfrm>
            <a:off x="4377440" y="2971800"/>
            <a:ext cx="914400" cy="914400"/>
          </a:xfrm>
          <a:prstGeom prst="ellipse">
            <a:avLst/>
          </a:prstGeom>
          <a:solidFill>
            <a:srgbClr val="0F8577">
              <a:alpha val="63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1F4775F-9086-EE67-5D6D-B91C4FBBBD5D}"/>
              </a:ext>
            </a:extLst>
          </p:cNvPr>
          <p:cNvSpPr/>
          <p:nvPr/>
        </p:nvSpPr>
        <p:spPr>
          <a:xfrm>
            <a:off x="6673128" y="2859553"/>
            <a:ext cx="1097280" cy="1097280"/>
          </a:xfrm>
          <a:prstGeom prst="ellipse">
            <a:avLst/>
          </a:prstGeom>
          <a:solidFill>
            <a:srgbClr val="3CE9D4">
              <a:alpha val="48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3D68DAA-C147-8128-789E-966395E36567}"/>
              </a:ext>
            </a:extLst>
          </p:cNvPr>
          <p:cNvSpPr/>
          <p:nvPr/>
        </p:nvSpPr>
        <p:spPr>
          <a:xfrm>
            <a:off x="4957458" y="2182729"/>
            <a:ext cx="2286000" cy="2286000"/>
          </a:xfrm>
          <a:prstGeom prst="ellipse">
            <a:avLst/>
          </a:prstGeom>
          <a:solidFill>
            <a:srgbClr val="F4605C">
              <a:alpha val="7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DB7AE0E-3C8B-6FE1-8DC8-BDDD4B49CDEE}"/>
              </a:ext>
            </a:extLst>
          </p:cNvPr>
          <p:cNvSpPr/>
          <p:nvPr/>
        </p:nvSpPr>
        <p:spPr>
          <a:xfrm>
            <a:off x="8981277" y="3150068"/>
            <a:ext cx="548640" cy="548640"/>
          </a:xfrm>
          <a:prstGeom prst="ellipse">
            <a:avLst/>
          </a:prstGeom>
          <a:solidFill>
            <a:srgbClr val="FAD416">
              <a:alpha val="73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4BC1137-2A88-9FB7-BC8E-388F830D0BC2}"/>
              </a:ext>
            </a:extLst>
          </p:cNvPr>
          <p:cNvCxnSpPr>
            <a:cxnSpLocks/>
          </p:cNvCxnSpPr>
          <p:nvPr/>
        </p:nvCxnSpPr>
        <p:spPr>
          <a:xfrm flipV="1">
            <a:off x="4362667" y="1908312"/>
            <a:ext cx="0" cy="1097280"/>
          </a:xfrm>
          <a:prstGeom prst="line">
            <a:avLst/>
          </a:prstGeom>
          <a:ln w="635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320FF5C-8656-4E96-2B3D-1FD86FDE97E6}"/>
              </a:ext>
            </a:extLst>
          </p:cNvPr>
          <p:cNvCxnSpPr>
            <a:cxnSpLocks/>
          </p:cNvCxnSpPr>
          <p:nvPr/>
        </p:nvCxnSpPr>
        <p:spPr>
          <a:xfrm flipV="1">
            <a:off x="5590073" y="2076506"/>
            <a:ext cx="0" cy="365760"/>
          </a:xfrm>
          <a:prstGeom prst="line">
            <a:avLst/>
          </a:prstGeom>
          <a:ln w="635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197F7C4-E796-B7E7-F6CC-D93FD9763495}"/>
              </a:ext>
            </a:extLst>
          </p:cNvPr>
          <p:cNvCxnSpPr>
            <a:cxnSpLocks/>
          </p:cNvCxnSpPr>
          <p:nvPr/>
        </p:nvCxnSpPr>
        <p:spPr>
          <a:xfrm flipV="1">
            <a:off x="8441888" y="4174464"/>
            <a:ext cx="0" cy="1188720"/>
          </a:xfrm>
          <a:prstGeom prst="line">
            <a:avLst/>
          </a:prstGeom>
          <a:ln w="635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C30B88C4-1DAF-84F7-BA26-8DAD9773F6FD}"/>
              </a:ext>
            </a:extLst>
          </p:cNvPr>
          <p:cNvSpPr/>
          <p:nvPr/>
        </p:nvSpPr>
        <p:spPr>
          <a:xfrm>
            <a:off x="-41963" y="3285678"/>
            <a:ext cx="12275926" cy="253163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102B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99						         						                2024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E63ADC3-20DA-9347-A175-6D704601533A}"/>
              </a:ext>
            </a:extLst>
          </p:cNvPr>
          <p:cNvSpPr txBox="1"/>
          <p:nvPr/>
        </p:nvSpPr>
        <p:spPr>
          <a:xfrm>
            <a:off x="2925849" y="1202144"/>
            <a:ext cx="1920239" cy="623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02B40"/>
                </a:solidFill>
                <a:effectLst/>
                <a:uLnTx/>
                <a:uFillTx/>
                <a:latin typeface="Futura Std Light" panose="020B0402020204020303"/>
              </a:rPr>
              <a:t>NCCDPHP Good Health and Wellness in Indian Country (GHWIC): 2014 </a:t>
            </a:r>
          </a:p>
        </p:txBody>
      </p:sp>
      <p:pic>
        <p:nvPicPr>
          <p:cNvPr id="39" name="Graphic 38" descr="Sunset scene with solid fill">
            <a:extLst>
              <a:ext uri="{FF2B5EF4-FFF2-40B4-BE49-F238E27FC236}">
                <a16:creationId xmlns:a16="http://schemas.microsoft.com/office/drawing/2014/main" id="{A15EC0E9-C1B5-C25E-97F0-255212096C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02918" y="1804511"/>
            <a:ext cx="457200" cy="457200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147A8A30-AA58-BD1D-2D8F-8CAA27B47326}"/>
              </a:ext>
            </a:extLst>
          </p:cNvPr>
          <p:cNvSpPr txBox="1"/>
          <p:nvPr/>
        </p:nvSpPr>
        <p:spPr>
          <a:xfrm>
            <a:off x="343727" y="4928301"/>
            <a:ext cx="1802947" cy="76944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02B40"/>
                </a:solidFill>
                <a:effectLst/>
                <a:uLnTx/>
                <a:uFillTx/>
                <a:latin typeface="Futura Std Light" panose="020B0402020204020303"/>
              </a:rPr>
              <a:t>NCCDPHP Racial and Ethnic Approach to Community Health (REACH): 1999</a:t>
            </a:r>
          </a:p>
        </p:txBody>
      </p:sp>
      <p:pic>
        <p:nvPicPr>
          <p:cNvPr id="48" name="Picture 47" descr="A picture containing text, clipart, vector graphics&#10;&#10;Description automatically generated">
            <a:extLst>
              <a:ext uri="{FF2B5EF4-FFF2-40B4-BE49-F238E27FC236}">
                <a16:creationId xmlns:a16="http://schemas.microsoft.com/office/drawing/2014/main" id="{26E8F766-134C-C1AA-CCB3-2F51DA1D4A82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132636" y="4430556"/>
            <a:ext cx="659696" cy="415633"/>
          </a:xfrm>
          <a:prstGeom prst="rect">
            <a:avLst/>
          </a:prstGeom>
        </p:spPr>
      </p:pic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39D8ED9A-3D64-9F48-6DC3-44E3608DD834}"/>
              </a:ext>
            </a:extLst>
          </p:cNvPr>
          <p:cNvCxnSpPr/>
          <p:nvPr/>
        </p:nvCxnSpPr>
        <p:spPr>
          <a:xfrm>
            <a:off x="466287" y="4885980"/>
            <a:ext cx="1645920" cy="0"/>
          </a:xfrm>
          <a:prstGeom prst="line">
            <a:avLst/>
          </a:prstGeom>
          <a:ln w="19050">
            <a:solidFill>
              <a:srgbClr val="2F78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47EB1E43-371F-0504-CFB4-4216DF6271E5}"/>
              </a:ext>
            </a:extLst>
          </p:cNvPr>
          <p:cNvSpPr txBox="1"/>
          <p:nvPr/>
        </p:nvSpPr>
        <p:spPr>
          <a:xfrm>
            <a:off x="5246261" y="5196697"/>
            <a:ext cx="1911019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02B40"/>
                </a:solidFill>
                <a:effectLst/>
                <a:uLnTx/>
                <a:uFillTx/>
                <a:latin typeface="Futura Std Light" panose="020B0402020204020303"/>
              </a:rPr>
              <a:t>NCCDPHP Community Health Workers for COVID Response and Resilient Communities (CCR): 2021</a:t>
            </a:r>
          </a:p>
        </p:txBody>
      </p:sp>
      <p:pic>
        <p:nvPicPr>
          <p:cNvPr id="72" name="Graphic 71" descr="Arrow: Clockwise curve with solid fill">
            <a:extLst>
              <a:ext uri="{FF2B5EF4-FFF2-40B4-BE49-F238E27FC236}">
                <a16:creationId xmlns:a16="http://schemas.microsoft.com/office/drawing/2014/main" id="{CB298D5F-59F8-BA56-A864-4E3FEB3301E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24005" y="4895416"/>
            <a:ext cx="182880" cy="182880"/>
          </a:xfrm>
          <a:prstGeom prst="rect">
            <a:avLst/>
          </a:prstGeom>
        </p:spPr>
      </p:pic>
      <p:pic>
        <p:nvPicPr>
          <p:cNvPr id="74" name="Graphic 73" descr="User with solid fill">
            <a:extLst>
              <a:ext uri="{FF2B5EF4-FFF2-40B4-BE49-F238E27FC236}">
                <a16:creationId xmlns:a16="http://schemas.microsoft.com/office/drawing/2014/main" id="{9B008612-190F-5D3E-6C38-16B8CDE8971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111566" y="4663400"/>
            <a:ext cx="274320" cy="274320"/>
          </a:xfrm>
          <a:prstGeom prst="rect">
            <a:avLst/>
          </a:prstGeom>
        </p:spPr>
      </p:pic>
      <p:pic>
        <p:nvPicPr>
          <p:cNvPr id="75" name="Graphic 74" descr="User with solid fill">
            <a:extLst>
              <a:ext uri="{FF2B5EF4-FFF2-40B4-BE49-F238E27FC236}">
                <a16:creationId xmlns:a16="http://schemas.microsoft.com/office/drawing/2014/main" id="{CD18C7AC-A8AD-78E6-6FB1-E1CF7FC1BDD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39329" y="4866972"/>
            <a:ext cx="274320" cy="274320"/>
          </a:xfrm>
          <a:prstGeom prst="rect">
            <a:avLst/>
          </a:prstGeom>
        </p:spPr>
      </p:pic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501850C0-BAD3-0F29-FCFF-464A8179EE34}"/>
              </a:ext>
            </a:extLst>
          </p:cNvPr>
          <p:cNvCxnSpPr/>
          <p:nvPr/>
        </p:nvCxnSpPr>
        <p:spPr>
          <a:xfrm>
            <a:off x="10217159" y="1840303"/>
            <a:ext cx="1920240" cy="0"/>
          </a:xfrm>
          <a:prstGeom prst="line">
            <a:avLst/>
          </a:prstGeom>
          <a:ln w="19050">
            <a:solidFill>
              <a:srgbClr val="2565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8D90F5A2-FB00-5CB9-3B5D-0628EAEE0053}"/>
              </a:ext>
            </a:extLst>
          </p:cNvPr>
          <p:cNvCxnSpPr/>
          <p:nvPr/>
        </p:nvCxnSpPr>
        <p:spPr>
          <a:xfrm>
            <a:off x="10206990" y="1114768"/>
            <a:ext cx="1920240" cy="0"/>
          </a:xfrm>
          <a:prstGeom prst="line">
            <a:avLst/>
          </a:prstGeom>
          <a:ln w="19050">
            <a:solidFill>
              <a:srgbClr val="25659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D28D9848-6636-A0FB-FB9B-EC40489E5C88}"/>
              </a:ext>
            </a:extLst>
          </p:cNvPr>
          <p:cNvCxnSpPr/>
          <p:nvPr/>
        </p:nvCxnSpPr>
        <p:spPr>
          <a:xfrm>
            <a:off x="10184879" y="5993773"/>
            <a:ext cx="1828800" cy="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F60F0430-FBB4-C336-101D-3653DBC22672}"/>
              </a:ext>
            </a:extLst>
          </p:cNvPr>
          <p:cNvCxnSpPr/>
          <p:nvPr/>
        </p:nvCxnSpPr>
        <p:spPr>
          <a:xfrm>
            <a:off x="10126399" y="4971964"/>
            <a:ext cx="1828800" cy="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AEA189D3-C0E4-203C-A868-D599722FBD37}"/>
              </a:ext>
            </a:extLst>
          </p:cNvPr>
          <p:cNvCxnSpPr/>
          <p:nvPr/>
        </p:nvCxnSpPr>
        <p:spPr>
          <a:xfrm>
            <a:off x="7858272" y="6435497"/>
            <a:ext cx="1828800" cy="0"/>
          </a:xfrm>
          <a:prstGeom prst="line">
            <a:avLst/>
          </a:prstGeom>
          <a:ln w="19050">
            <a:solidFill>
              <a:srgbClr val="3CE9D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DCDA1EC3-56BB-8498-5FD4-CDB286806F94}"/>
              </a:ext>
            </a:extLst>
          </p:cNvPr>
          <p:cNvCxnSpPr/>
          <p:nvPr/>
        </p:nvCxnSpPr>
        <p:spPr>
          <a:xfrm>
            <a:off x="7858272" y="5488542"/>
            <a:ext cx="1828800" cy="0"/>
          </a:xfrm>
          <a:prstGeom prst="line">
            <a:avLst/>
          </a:prstGeom>
          <a:ln w="19050">
            <a:solidFill>
              <a:srgbClr val="3CE9D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>
            <a:extLst>
              <a:ext uri="{FF2B5EF4-FFF2-40B4-BE49-F238E27FC236}">
                <a16:creationId xmlns:a16="http://schemas.microsoft.com/office/drawing/2014/main" id="{89A1D248-3260-4356-70E4-BABD864C54F4}"/>
              </a:ext>
            </a:extLst>
          </p:cNvPr>
          <p:cNvSpPr txBox="1"/>
          <p:nvPr/>
        </p:nvSpPr>
        <p:spPr>
          <a:xfrm>
            <a:off x="2769225" y="5313021"/>
            <a:ext cx="1530092" cy="76944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Std Light" panose="020B0402020204020303"/>
              </a:rPr>
              <a:t>NCCDPHP State Physical Activity and Nutrition (SPAN): 2013</a:t>
            </a: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102B40"/>
              </a:solidFill>
              <a:effectLst/>
              <a:uLnTx/>
              <a:uFillTx/>
              <a:latin typeface="Futura Std Light" panose="020B0402020204020303"/>
            </a:endParaRPr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11EE14FF-BB91-D01C-E971-6589BCAF56C6}"/>
              </a:ext>
            </a:extLst>
          </p:cNvPr>
          <p:cNvCxnSpPr/>
          <p:nvPr/>
        </p:nvCxnSpPr>
        <p:spPr>
          <a:xfrm>
            <a:off x="5562733" y="1307729"/>
            <a:ext cx="1371600" cy="0"/>
          </a:xfrm>
          <a:prstGeom prst="line">
            <a:avLst/>
          </a:prstGeom>
          <a:ln w="19050">
            <a:solidFill>
              <a:srgbClr val="F46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4BFE2326-F334-EF12-3002-3AF84799C3D3}"/>
              </a:ext>
            </a:extLst>
          </p:cNvPr>
          <p:cNvCxnSpPr>
            <a:cxnSpLocks/>
          </p:cNvCxnSpPr>
          <p:nvPr/>
        </p:nvCxnSpPr>
        <p:spPr>
          <a:xfrm>
            <a:off x="5562733" y="1967069"/>
            <a:ext cx="1371600" cy="0"/>
          </a:xfrm>
          <a:prstGeom prst="line">
            <a:avLst/>
          </a:prstGeom>
          <a:ln w="19050">
            <a:solidFill>
              <a:srgbClr val="F46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4956590B-9C44-0952-339C-0434C1B09E0B}"/>
              </a:ext>
            </a:extLst>
          </p:cNvPr>
          <p:cNvCxnSpPr/>
          <p:nvPr/>
        </p:nvCxnSpPr>
        <p:spPr>
          <a:xfrm>
            <a:off x="2987944" y="1831916"/>
            <a:ext cx="1828800" cy="0"/>
          </a:xfrm>
          <a:prstGeom prst="line">
            <a:avLst/>
          </a:prstGeom>
          <a:ln w="19050">
            <a:solidFill>
              <a:srgbClr val="0F8577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908A247E-7E13-7629-40FA-9C9E108A8223}"/>
              </a:ext>
            </a:extLst>
          </p:cNvPr>
          <p:cNvCxnSpPr/>
          <p:nvPr/>
        </p:nvCxnSpPr>
        <p:spPr>
          <a:xfrm>
            <a:off x="2987944" y="1156169"/>
            <a:ext cx="1828800" cy="0"/>
          </a:xfrm>
          <a:prstGeom prst="line">
            <a:avLst/>
          </a:prstGeom>
          <a:ln w="19050">
            <a:solidFill>
              <a:srgbClr val="0F8577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0" name="TextBox 109">
            <a:extLst>
              <a:ext uri="{FF2B5EF4-FFF2-40B4-BE49-F238E27FC236}">
                <a16:creationId xmlns:a16="http://schemas.microsoft.com/office/drawing/2014/main" id="{45D7B8F2-29E3-873A-FAE3-37F0335A5E97}"/>
              </a:ext>
            </a:extLst>
          </p:cNvPr>
          <p:cNvSpPr txBox="1"/>
          <p:nvPr/>
        </p:nvSpPr>
        <p:spPr>
          <a:xfrm>
            <a:off x="780047" y="1511672"/>
            <a:ext cx="1694858" cy="6232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102B40"/>
                </a:solidFill>
                <a:effectLst/>
                <a:uLnTx/>
                <a:uFillTx/>
                <a:latin typeface="Futura Std Light" panose="020B0402020204020303"/>
              </a:rPr>
              <a:t>NCCDPHP National Tobacco Control Program: 1999</a:t>
            </a:r>
          </a:p>
        </p:txBody>
      </p:sp>
      <p:pic>
        <p:nvPicPr>
          <p:cNvPr id="114" name="Graphic 113" descr="No smoking with solid fill">
            <a:extLst>
              <a:ext uri="{FF2B5EF4-FFF2-40B4-BE49-F238E27FC236}">
                <a16:creationId xmlns:a16="http://schemas.microsoft.com/office/drawing/2014/main" id="{B5B3E9A6-5D43-C633-32F7-F3F111BA3E1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2726" y="1703366"/>
            <a:ext cx="457200" cy="45720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1124820-DECA-0D7A-AEE7-BADA49D236DB}"/>
              </a:ext>
            </a:extLst>
          </p:cNvPr>
          <p:cNvCxnSpPr>
            <a:cxnSpLocks/>
          </p:cNvCxnSpPr>
          <p:nvPr/>
        </p:nvCxnSpPr>
        <p:spPr>
          <a:xfrm flipV="1">
            <a:off x="1051838" y="2274486"/>
            <a:ext cx="0" cy="548640"/>
          </a:xfrm>
          <a:prstGeom prst="line">
            <a:avLst/>
          </a:prstGeom>
          <a:ln w="635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5A76A63-022C-1771-C070-FFBC0ADD00D4}"/>
              </a:ext>
            </a:extLst>
          </p:cNvPr>
          <p:cNvCxnSpPr/>
          <p:nvPr/>
        </p:nvCxnSpPr>
        <p:spPr>
          <a:xfrm>
            <a:off x="820357" y="1486025"/>
            <a:ext cx="1645920" cy="0"/>
          </a:xfrm>
          <a:prstGeom prst="line">
            <a:avLst/>
          </a:prstGeom>
          <a:ln w="19050">
            <a:solidFill>
              <a:srgbClr val="2F78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45483073-49B2-64A8-237B-074268A3840D}"/>
              </a:ext>
            </a:extLst>
          </p:cNvPr>
          <p:cNvCxnSpPr/>
          <p:nvPr/>
        </p:nvCxnSpPr>
        <p:spPr>
          <a:xfrm>
            <a:off x="820357" y="2171132"/>
            <a:ext cx="1645920" cy="0"/>
          </a:xfrm>
          <a:prstGeom prst="line">
            <a:avLst/>
          </a:prstGeom>
          <a:ln w="19050">
            <a:solidFill>
              <a:srgbClr val="2F78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EAB300D-7163-B9AE-E5EC-C7BD56F50363}"/>
              </a:ext>
            </a:extLst>
          </p:cNvPr>
          <p:cNvCxnSpPr/>
          <p:nvPr/>
        </p:nvCxnSpPr>
        <p:spPr>
          <a:xfrm>
            <a:off x="477576" y="5716143"/>
            <a:ext cx="1645920" cy="0"/>
          </a:xfrm>
          <a:prstGeom prst="line">
            <a:avLst/>
          </a:prstGeom>
          <a:ln w="19050">
            <a:solidFill>
              <a:srgbClr val="2F78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B2BF15B5-4C73-F5CD-7151-C241D5A18B51}"/>
              </a:ext>
            </a:extLst>
          </p:cNvPr>
          <p:cNvCxnSpPr>
            <a:cxnSpLocks/>
          </p:cNvCxnSpPr>
          <p:nvPr/>
        </p:nvCxnSpPr>
        <p:spPr>
          <a:xfrm flipV="1">
            <a:off x="1051838" y="4018748"/>
            <a:ext cx="0" cy="731520"/>
          </a:xfrm>
          <a:prstGeom prst="line">
            <a:avLst/>
          </a:prstGeom>
          <a:ln w="635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CF24EC4-6644-79D6-93E2-05A6E962B0B0}"/>
              </a:ext>
            </a:extLst>
          </p:cNvPr>
          <p:cNvCxnSpPr/>
          <p:nvPr/>
        </p:nvCxnSpPr>
        <p:spPr>
          <a:xfrm>
            <a:off x="2855071" y="5286102"/>
            <a:ext cx="1371600" cy="0"/>
          </a:xfrm>
          <a:prstGeom prst="line">
            <a:avLst/>
          </a:prstGeom>
          <a:ln w="19050">
            <a:solidFill>
              <a:srgbClr val="0F85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C020A41-1BBD-BE2D-C0E4-D30BBA7E952C}"/>
              </a:ext>
            </a:extLst>
          </p:cNvPr>
          <p:cNvCxnSpPr/>
          <p:nvPr/>
        </p:nvCxnSpPr>
        <p:spPr>
          <a:xfrm>
            <a:off x="2864346" y="6089089"/>
            <a:ext cx="1371600" cy="0"/>
          </a:xfrm>
          <a:prstGeom prst="line">
            <a:avLst/>
          </a:prstGeom>
          <a:ln w="19050">
            <a:solidFill>
              <a:srgbClr val="0F85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6914316-F770-0AAD-E0C9-B82A707160B8}"/>
              </a:ext>
            </a:extLst>
          </p:cNvPr>
          <p:cNvCxnSpPr>
            <a:cxnSpLocks/>
          </p:cNvCxnSpPr>
          <p:nvPr/>
        </p:nvCxnSpPr>
        <p:spPr>
          <a:xfrm flipV="1">
            <a:off x="3391221" y="3991584"/>
            <a:ext cx="0" cy="1188720"/>
          </a:xfrm>
          <a:prstGeom prst="line">
            <a:avLst/>
          </a:prstGeom>
          <a:ln w="635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7ED4A7FD-9A3A-2859-7FE9-16C57A4FE70F}"/>
              </a:ext>
            </a:extLst>
          </p:cNvPr>
          <p:cNvCxnSpPr>
            <a:cxnSpLocks/>
          </p:cNvCxnSpPr>
          <p:nvPr/>
        </p:nvCxnSpPr>
        <p:spPr>
          <a:xfrm flipV="1">
            <a:off x="11018004" y="4044012"/>
            <a:ext cx="0" cy="822960"/>
          </a:xfrm>
          <a:prstGeom prst="line">
            <a:avLst/>
          </a:prstGeom>
          <a:ln w="635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4DA8C715-EEB3-3BF4-7523-B5B7EEA723B3}"/>
              </a:ext>
            </a:extLst>
          </p:cNvPr>
          <p:cNvSpPr txBox="1"/>
          <p:nvPr/>
        </p:nvSpPr>
        <p:spPr>
          <a:xfrm>
            <a:off x="10206990" y="1169141"/>
            <a:ext cx="192024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>
                <a:solidFill>
                  <a:srgbClr val="000000"/>
                </a:solidFill>
                <a:latin typeface="Futura Std Light" panose="020B0402020204020303"/>
                <a:cs typeface="Calibri" panose="020F0502020204030204" pitchFamily="34" charset="0"/>
              </a:rPr>
              <a:t>White House Release of the U.S Playbook to Address SDOH: 2023</a:t>
            </a:r>
          </a:p>
        </p:txBody>
      </p:sp>
      <p:pic>
        <p:nvPicPr>
          <p:cNvPr id="67" name="Graphic 66" descr="Neighborhood with solid fill">
            <a:extLst>
              <a:ext uri="{FF2B5EF4-FFF2-40B4-BE49-F238E27FC236}">
                <a16:creationId xmlns:a16="http://schemas.microsoft.com/office/drawing/2014/main" id="{3A11CD51-B533-A9C4-01CE-5217D43F51C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11663228" y="1318097"/>
            <a:ext cx="457200" cy="457200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38ABB76E-A4CB-926F-D916-B8CE0AA6A9EF}"/>
              </a:ext>
            </a:extLst>
          </p:cNvPr>
          <p:cNvSpPr txBox="1"/>
          <p:nvPr/>
        </p:nvSpPr>
        <p:spPr>
          <a:xfrm>
            <a:off x="10112468" y="5019183"/>
            <a:ext cx="1946281" cy="93871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1100" b="1">
                <a:solidFill>
                  <a:srgbClr val="000000"/>
                </a:solidFill>
                <a:latin typeface="Futura Std Light" panose="020B0402020204020303"/>
                <a:cs typeface="Calibri" panose="020F0502020204030204" pitchFamily="34" charset="0"/>
              </a:rPr>
              <a:t>HHS Call to Action: Addressing Health-Related Social Needs in Communities Across the Nation: 2023</a:t>
            </a:r>
          </a:p>
        </p:txBody>
      </p:sp>
      <p:pic>
        <p:nvPicPr>
          <p:cNvPr id="70" name="Graphic 69" descr="Clapper board with solid fill">
            <a:extLst>
              <a:ext uri="{FF2B5EF4-FFF2-40B4-BE49-F238E27FC236}">
                <a16:creationId xmlns:a16="http://schemas.microsoft.com/office/drawing/2014/main" id="{888579A1-C1D4-09A0-5B5A-E95451265A09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204221" y="5069787"/>
            <a:ext cx="304800" cy="304800"/>
          </a:xfrm>
          <a:prstGeom prst="rect">
            <a:avLst/>
          </a:prstGeom>
        </p:spPr>
      </p:pic>
      <p:pic>
        <p:nvPicPr>
          <p:cNvPr id="73" name="Graphic 72" descr="Run with solid fill">
            <a:extLst>
              <a:ext uri="{FF2B5EF4-FFF2-40B4-BE49-F238E27FC236}">
                <a16:creationId xmlns:a16="http://schemas.microsoft.com/office/drawing/2014/main" id="{126A7C4D-5720-C7A3-D001-309FFE11357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396043" y="1470066"/>
            <a:ext cx="365760" cy="365760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3F6BFD7C-CE55-0D99-FA01-B1DB6AC6C07D}"/>
              </a:ext>
            </a:extLst>
          </p:cNvPr>
          <p:cNvSpPr txBox="1"/>
          <p:nvPr/>
        </p:nvSpPr>
        <p:spPr>
          <a:xfrm>
            <a:off x="5483487" y="1338592"/>
            <a:ext cx="1530092" cy="6001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utura Std Light" panose="020B0402020204020303"/>
              </a:rPr>
              <a:t>NCCDPHP High Obesity Program (HOP): 2014</a:t>
            </a: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102B40"/>
              </a:solidFill>
              <a:effectLst/>
              <a:uLnTx/>
              <a:uFillTx/>
              <a:latin typeface="Futura Std Light" panose="020B0402020204020303"/>
            </a:endParaRPr>
          </a:p>
        </p:txBody>
      </p:sp>
      <p:pic>
        <p:nvPicPr>
          <p:cNvPr id="87" name="Graphic 86" descr="Fruit bowl with solid fill">
            <a:extLst>
              <a:ext uri="{FF2B5EF4-FFF2-40B4-BE49-F238E27FC236}">
                <a16:creationId xmlns:a16="http://schemas.microsoft.com/office/drawing/2014/main" id="{CFC9FE31-21F6-2305-8C01-84F35057E60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835575" y="5720741"/>
            <a:ext cx="274320" cy="274320"/>
          </a:xfrm>
          <a:prstGeom prst="rect">
            <a:avLst/>
          </a:prstGeom>
        </p:spPr>
      </p:pic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2E470091-263F-7E41-07C3-5761A20679D0}"/>
              </a:ext>
            </a:extLst>
          </p:cNvPr>
          <p:cNvCxnSpPr>
            <a:cxnSpLocks/>
          </p:cNvCxnSpPr>
          <p:nvPr/>
        </p:nvCxnSpPr>
        <p:spPr>
          <a:xfrm flipV="1">
            <a:off x="8613180" y="2457366"/>
            <a:ext cx="0" cy="365760"/>
          </a:xfrm>
          <a:prstGeom prst="line">
            <a:avLst/>
          </a:prstGeom>
          <a:ln w="6350">
            <a:solidFill>
              <a:srgbClr val="00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5D374417-9F9D-7B98-7073-FBF228FC524C}"/>
              </a:ext>
            </a:extLst>
          </p:cNvPr>
          <p:cNvCxnSpPr/>
          <p:nvPr/>
        </p:nvCxnSpPr>
        <p:spPr>
          <a:xfrm>
            <a:off x="7813389" y="2351368"/>
            <a:ext cx="1920240" cy="0"/>
          </a:xfrm>
          <a:prstGeom prst="line">
            <a:avLst/>
          </a:prstGeom>
          <a:ln w="19050">
            <a:solidFill>
              <a:srgbClr val="3CE9D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2ADFBFBC-E9A7-1AF0-9499-1A9B2E086A07}"/>
              </a:ext>
            </a:extLst>
          </p:cNvPr>
          <p:cNvCxnSpPr/>
          <p:nvPr/>
        </p:nvCxnSpPr>
        <p:spPr>
          <a:xfrm>
            <a:off x="7813389" y="1467044"/>
            <a:ext cx="1920240" cy="0"/>
          </a:xfrm>
          <a:prstGeom prst="line">
            <a:avLst/>
          </a:prstGeom>
          <a:ln w="19050">
            <a:solidFill>
              <a:srgbClr val="3CE9D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7" name="Graphic 96" descr="Laptop with solid fill">
            <a:extLst>
              <a:ext uri="{FF2B5EF4-FFF2-40B4-BE49-F238E27FC236}">
                <a16:creationId xmlns:a16="http://schemas.microsoft.com/office/drawing/2014/main" id="{10820D0F-9D4E-986C-DE94-F7E502AA073C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8247420" y="2012839"/>
            <a:ext cx="365760" cy="365760"/>
          </a:xfrm>
          <a:prstGeom prst="rect">
            <a:avLst/>
          </a:prstGeom>
        </p:spPr>
      </p:pic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4FFBDBB7-20BD-D0B6-6CD0-2AAF6338A970}"/>
              </a:ext>
            </a:extLst>
          </p:cNvPr>
          <p:cNvCxnSpPr>
            <a:cxnSpLocks/>
          </p:cNvCxnSpPr>
          <p:nvPr/>
        </p:nvCxnSpPr>
        <p:spPr>
          <a:xfrm flipV="1">
            <a:off x="11311090" y="1938694"/>
            <a:ext cx="0" cy="640080"/>
          </a:xfrm>
          <a:prstGeom prst="line">
            <a:avLst/>
          </a:prstGeom>
          <a:ln w="635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E744D890-DE38-627E-AB1C-466330BF26C9}"/>
              </a:ext>
            </a:extLst>
          </p:cNvPr>
          <p:cNvCxnSpPr>
            <a:cxnSpLocks/>
          </p:cNvCxnSpPr>
          <p:nvPr/>
        </p:nvCxnSpPr>
        <p:spPr>
          <a:xfrm flipV="1">
            <a:off x="6673128" y="4140783"/>
            <a:ext cx="0" cy="914400"/>
          </a:xfrm>
          <a:prstGeom prst="line">
            <a:avLst/>
          </a:prstGeom>
          <a:ln w="6350">
            <a:solidFill>
              <a:srgbClr val="00000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DAC67C7B-3596-A573-51B7-33D2C7F7407A}"/>
              </a:ext>
            </a:extLst>
          </p:cNvPr>
          <p:cNvSpPr txBox="1"/>
          <p:nvPr/>
        </p:nvSpPr>
        <p:spPr>
          <a:xfrm>
            <a:off x="7629672" y="5493496"/>
            <a:ext cx="2285999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US" sz="1100" b="1">
                <a:solidFill>
                  <a:srgbClr val="000000"/>
                </a:solidFill>
                <a:latin typeface="Futura Std Light" panose="020B0402020204020303"/>
                <a:cs typeface="Calibri" panose="020F0502020204030204" pitchFamily="34" charset="0"/>
              </a:rPr>
              <a:t>NCCDPHP Behavioral Risk Factor Surveillance System (BRFSS) Social Determinants and Health Equity Module : 2022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D98A18A5-07A7-9FA8-A45C-0B88A97E6334}"/>
              </a:ext>
            </a:extLst>
          </p:cNvPr>
          <p:cNvCxnSpPr/>
          <p:nvPr/>
        </p:nvCxnSpPr>
        <p:spPr>
          <a:xfrm>
            <a:off x="5296460" y="5190756"/>
            <a:ext cx="1828800" cy="0"/>
          </a:xfrm>
          <a:prstGeom prst="line">
            <a:avLst/>
          </a:prstGeom>
          <a:ln w="19050">
            <a:solidFill>
              <a:srgbClr val="F46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E3AEAF94-090E-F013-CF30-574A5E500344}"/>
              </a:ext>
            </a:extLst>
          </p:cNvPr>
          <p:cNvCxnSpPr/>
          <p:nvPr/>
        </p:nvCxnSpPr>
        <p:spPr>
          <a:xfrm>
            <a:off x="5296460" y="5966138"/>
            <a:ext cx="1828800" cy="0"/>
          </a:xfrm>
          <a:prstGeom prst="line">
            <a:avLst/>
          </a:prstGeom>
          <a:ln w="19050">
            <a:solidFill>
              <a:srgbClr val="F46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9" name="Graphic 108" descr="Clipboard Partially Checked with solid fill">
            <a:extLst>
              <a:ext uri="{FF2B5EF4-FFF2-40B4-BE49-F238E27FC236}">
                <a16:creationId xmlns:a16="http://schemas.microsoft.com/office/drawing/2014/main" id="{0B48CBFD-6549-A217-F65B-896B4B552F13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8473908" y="4954135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3512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44FDF0B9-0A70-D423-9B22-D6DBAE20768A}"/>
              </a:ext>
            </a:extLst>
          </p:cNvPr>
          <p:cNvCxnSpPr>
            <a:cxnSpLocks/>
          </p:cNvCxnSpPr>
          <p:nvPr/>
        </p:nvCxnSpPr>
        <p:spPr>
          <a:xfrm rot="5400000" flipV="1">
            <a:off x="4353025" y="4401101"/>
            <a:ext cx="0" cy="731520"/>
          </a:xfrm>
          <a:prstGeom prst="line">
            <a:avLst/>
          </a:prstGeom>
          <a:ln w="19050">
            <a:solidFill>
              <a:srgbClr val="102B4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004C5FBE-DCE3-3A01-F2C1-C64E2C16FF3E}"/>
              </a:ext>
            </a:extLst>
          </p:cNvPr>
          <p:cNvCxnSpPr>
            <a:cxnSpLocks/>
          </p:cNvCxnSpPr>
          <p:nvPr/>
        </p:nvCxnSpPr>
        <p:spPr>
          <a:xfrm flipV="1">
            <a:off x="4193056" y="2607059"/>
            <a:ext cx="710000" cy="275128"/>
          </a:xfrm>
          <a:prstGeom prst="line">
            <a:avLst/>
          </a:prstGeom>
          <a:ln w="19050">
            <a:solidFill>
              <a:srgbClr val="102B4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0D99D723-B828-9E59-3BE3-879FFC99B934}"/>
              </a:ext>
            </a:extLst>
          </p:cNvPr>
          <p:cNvCxnSpPr>
            <a:cxnSpLocks/>
          </p:cNvCxnSpPr>
          <p:nvPr/>
        </p:nvCxnSpPr>
        <p:spPr>
          <a:xfrm rot="5400000" flipV="1">
            <a:off x="4767059" y="3322743"/>
            <a:ext cx="0" cy="731520"/>
          </a:xfrm>
          <a:prstGeom prst="line">
            <a:avLst/>
          </a:prstGeom>
          <a:ln w="19050">
            <a:solidFill>
              <a:srgbClr val="102B4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A1B06C3-AB35-B600-F324-E08E746A7A30}"/>
              </a:ext>
            </a:extLst>
          </p:cNvPr>
          <p:cNvCxnSpPr>
            <a:cxnSpLocks/>
          </p:cNvCxnSpPr>
          <p:nvPr/>
        </p:nvCxnSpPr>
        <p:spPr>
          <a:xfrm rot="5400000" flipV="1">
            <a:off x="3725223" y="5456239"/>
            <a:ext cx="0" cy="731520"/>
          </a:xfrm>
          <a:prstGeom prst="line">
            <a:avLst/>
          </a:prstGeom>
          <a:ln w="19050">
            <a:solidFill>
              <a:srgbClr val="102B4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7AB527BB-7542-6A4A-D7D0-14803EE2815F}"/>
              </a:ext>
            </a:extLst>
          </p:cNvPr>
          <p:cNvCxnSpPr/>
          <p:nvPr/>
        </p:nvCxnSpPr>
        <p:spPr>
          <a:xfrm flipV="1">
            <a:off x="3337661" y="5257057"/>
            <a:ext cx="0" cy="548640"/>
          </a:xfrm>
          <a:prstGeom prst="line">
            <a:avLst/>
          </a:prstGeom>
          <a:ln w="19050">
            <a:solidFill>
              <a:srgbClr val="102B4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57BD9D6-5567-F188-A162-8E7A37710F4C}"/>
              </a:ext>
            </a:extLst>
          </p:cNvPr>
          <p:cNvCxnSpPr>
            <a:cxnSpLocks/>
          </p:cNvCxnSpPr>
          <p:nvPr/>
        </p:nvCxnSpPr>
        <p:spPr>
          <a:xfrm rot="5400000" flipV="1">
            <a:off x="3621505" y="1406085"/>
            <a:ext cx="0" cy="731520"/>
          </a:xfrm>
          <a:prstGeom prst="line">
            <a:avLst/>
          </a:prstGeom>
          <a:ln w="19050">
            <a:solidFill>
              <a:srgbClr val="102B4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7F3CB0E3-F277-68CD-696F-991682D7D66B}"/>
              </a:ext>
            </a:extLst>
          </p:cNvPr>
          <p:cNvSpPr/>
          <p:nvPr/>
        </p:nvSpPr>
        <p:spPr>
          <a:xfrm>
            <a:off x="1418968" y="2422733"/>
            <a:ext cx="2560320" cy="2560320"/>
          </a:xfrm>
          <a:prstGeom prst="ellipse">
            <a:avLst/>
          </a:prstGeom>
          <a:solidFill>
            <a:schemeClr val="bg1">
              <a:lumMod val="85000"/>
            </a:schemeClr>
          </a:solidFill>
          <a:ln w="57150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FE36AFA-3D4C-5499-687D-28E12769F86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41275"/>
            <a:ext cx="11980863" cy="1585913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kern="1200" cap="none">
                <a:solidFill>
                  <a:schemeClr val="tx1"/>
                </a:solidFill>
                <a:latin typeface="+mj-lt"/>
                <a:ea typeface="+mj-ea"/>
                <a:cs typeface="Calibri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n-US">
                <a:latin typeface="Futura Std Light"/>
                <a:cs typeface="Calibri" panose="020F0502020204030204" pitchFamily="34" charset="0"/>
              </a:rPr>
              <a:t>Whole of Government Approach and Future CDC Effort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06359BB-A4BE-EF47-C53A-67760FDFE48B}"/>
              </a:ext>
            </a:extLst>
          </p:cNvPr>
          <p:cNvSpPr/>
          <p:nvPr/>
        </p:nvSpPr>
        <p:spPr>
          <a:xfrm>
            <a:off x="1601848" y="2605613"/>
            <a:ext cx="2194560" cy="2194560"/>
          </a:xfrm>
          <a:prstGeom prst="ellipse">
            <a:avLst/>
          </a:prstGeom>
          <a:solidFill>
            <a:srgbClr val="102B40"/>
          </a:solidFill>
          <a:ln w="57150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Arc 1">
            <a:extLst>
              <a:ext uri="{FF2B5EF4-FFF2-40B4-BE49-F238E27FC236}">
                <a16:creationId xmlns:a16="http://schemas.microsoft.com/office/drawing/2014/main" id="{A4897F4F-6C19-7C72-AEF9-6C49F409F74F}"/>
              </a:ext>
            </a:extLst>
          </p:cNvPr>
          <p:cNvSpPr/>
          <p:nvPr/>
        </p:nvSpPr>
        <p:spPr>
          <a:xfrm>
            <a:off x="1006955" y="2011253"/>
            <a:ext cx="3383280" cy="3383280"/>
          </a:xfrm>
          <a:prstGeom prst="arc">
            <a:avLst>
              <a:gd name="adj1" fmla="val 16288310"/>
              <a:gd name="adj2" fmla="val 5258773"/>
            </a:avLst>
          </a:prstGeom>
          <a:ln w="19050">
            <a:solidFill>
              <a:srgbClr val="102B40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4C324232-800F-409C-6512-A9B6B2B619C8}"/>
              </a:ext>
            </a:extLst>
          </p:cNvPr>
          <p:cNvSpPr/>
          <p:nvPr/>
        </p:nvSpPr>
        <p:spPr>
          <a:xfrm>
            <a:off x="3959996" y="1413649"/>
            <a:ext cx="4206240" cy="731520"/>
          </a:xfrm>
          <a:prstGeom prst="roundRect">
            <a:avLst>
              <a:gd name="adj" fmla="val 50000"/>
            </a:avLst>
          </a:prstGeom>
          <a:solidFill>
            <a:srgbClr val="2A5660"/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latin typeface="Futura Std Light" panose="020B0402020204020303"/>
                <a:cs typeface="Calibri" panose="020F0502020204030204" pitchFamily="34" charset="0"/>
              </a:rPr>
              <a:t>HHS Advisory </a:t>
            </a:r>
            <a:br>
              <a:rPr lang="en-US" sz="1600" b="1">
                <a:latin typeface="Futura Std Light" panose="020B0402020204020303"/>
                <a:cs typeface="Calibri" panose="020F0502020204030204" pitchFamily="34" charset="0"/>
              </a:rPr>
            </a:br>
            <a:r>
              <a:rPr lang="en-US" sz="1600" b="1">
                <a:latin typeface="Futura Std Light" panose="020B0402020204020303"/>
                <a:cs typeface="Calibri" panose="020F0502020204030204" pitchFamily="34" charset="0"/>
              </a:rPr>
              <a:t>Committee on SDOH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984BFE0-8B43-D681-2FEA-91FAA818F4CC}"/>
              </a:ext>
            </a:extLst>
          </p:cNvPr>
          <p:cNvSpPr/>
          <p:nvPr/>
        </p:nvSpPr>
        <p:spPr>
          <a:xfrm>
            <a:off x="4019243" y="1459369"/>
            <a:ext cx="640080" cy="64008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Graphic 9" descr="Online meeting with solid fill">
            <a:extLst>
              <a:ext uri="{FF2B5EF4-FFF2-40B4-BE49-F238E27FC236}">
                <a16:creationId xmlns:a16="http://schemas.microsoft.com/office/drawing/2014/main" id="{D341B499-FDF2-26BA-F5FE-2FF161EF1B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90983" y="1550809"/>
            <a:ext cx="457200" cy="457200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BD891A88-E026-1B6B-45D8-CE73E0A2351D}"/>
              </a:ext>
            </a:extLst>
          </p:cNvPr>
          <p:cNvSpPr/>
          <p:nvPr/>
        </p:nvSpPr>
        <p:spPr>
          <a:xfrm>
            <a:off x="4481905" y="2375411"/>
            <a:ext cx="4206240" cy="73152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7D57">
                  <a:shade val="30000"/>
                  <a:satMod val="115000"/>
                </a:srgbClr>
              </a:gs>
              <a:gs pos="50000">
                <a:srgbClr val="007D57">
                  <a:shade val="67500"/>
                  <a:satMod val="115000"/>
                </a:srgbClr>
              </a:gs>
              <a:gs pos="100000">
                <a:srgbClr val="007D57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latin typeface="Futura Std Light" panose="020B0402020204020303"/>
                <a:cs typeface="Calibri" panose="020F0502020204030204" pitchFamily="34" charset="0"/>
              </a:rPr>
              <a:t>HUD &amp; CDC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DC72DCB-B6C3-54FE-8BC2-95A41608998B}"/>
              </a:ext>
            </a:extLst>
          </p:cNvPr>
          <p:cNvSpPr/>
          <p:nvPr/>
        </p:nvSpPr>
        <p:spPr>
          <a:xfrm>
            <a:off x="4537296" y="2425515"/>
            <a:ext cx="640080" cy="64008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9" name="Graphic 18" descr="Suburban scene with solid fill">
            <a:extLst>
              <a:ext uri="{FF2B5EF4-FFF2-40B4-BE49-F238E27FC236}">
                <a16:creationId xmlns:a16="http://schemas.microsoft.com/office/drawing/2014/main" id="{409C4E18-C9FC-B668-D236-3411158053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618835" y="2516955"/>
            <a:ext cx="457200" cy="457200"/>
          </a:xfrm>
          <a:prstGeom prst="rect">
            <a:avLst/>
          </a:prstGeom>
        </p:spPr>
      </p:pic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4751035-E94F-3054-DE03-64E9727FA8D7}"/>
              </a:ext>
            </a:extLst>
          </p:cNvPr>
          <p:cNvSpPr/>
          <p:nvPr/>
        </p:nvSpPr>
        <p:spPr>
          <a:xfrm>
            <a:off x="4905860" y="3330389"/>
            <a:ext cx="4206240" cy="731520"/>
          </a:xfrm>
          <a:prstGeom prst="roundRect">
            <a:avLst>
              <a:gd name="adj" fmla="val 50000"/>
            </a:avLst>
          </a:prstGeom>
          <a:solidFill>
            <a:srgbClr val="2A5660"/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latin typeface="Futura Std Light" panose="020B0402020204020303"/>
                <a:cs typeface="Calibri" panose="020F0502020204030204" pitchFamily="34" charset="0"/>
              </a:rPr>
              <a:t>DoT &amp; CDC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1D07195-28B4-2B73-7360-287DDC241679}"/>
              </a:ext>
            </a:extLst>
          </p:cNvPr>
          <p:cNvSpPr/>
          <p:nvPr/>
        </p:nvSpPr>
        <p:spPr>
          <a:xfrm>
            <a:off x="4942765" y="3368463"/>
            <a:ext cx="640080" cy="64008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2" name="Graphic 21" descr="Cycling with solid fill">
            <a:extLst>
              <a:ext uri="{FF2B5EF4-FFF2-40B4-BE49-F238E27FC236}">
                <a16:creationId xmlns:a16="http://schemas.microsoft.com/office/drawing/2014/main" id="{3FB04C2C-5A14-E9CD-3F4A-A9F5212CC0A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017051" y="3459903"/>
            <a:ext cx="457200" cy="457200"/>
          </a:xfrm>
          <a:prstGeom prst="rect">
            <a:avLst/>
          </a:prstGeom>
        </p:spPr>
      </p:pic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E7AF545-32D9-B716-CC50-D4809A37AAFA}"/>
              </a:ext>
            </a:extLst>
          </p:cNvPr>
          <p:cNvSpPr/>
          <p:nvPr/>
        </p:nvSpPr>
        <p:spPr>
          <a:xfrm>
            <a:off x="4481905" y="4285368"/>
            <a:ext cx="4206240" cy="73152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007D57">
                  <a:shade val="30000"/>
                  <a:satMod val="115000"/>
                </a:srgbClr>
              </a:gs>
              <a:gs pos="50000">
                <a:srgbClr val="007D57">
                  <a:shade val="67500"/>
                  <a:satMod val="115000"/>
                </a:srgbClr>
              </a:gs>
              <a:gs pos="100000">
                <a:srgbClr val="007D57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latin typeface="Futura Std Light" panose="020B0402020204020303"/>
                <a:cs typeface="Calibri" panose="020F0502020204030204" pitchFamily="34" charset="0"/>
              </a:rPr>
              <a:t>CMS &amp; CDC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1FE58C6-4CF4-97F2-ECD2-C47C73D02E69}"/>
              </a:ext>
            </a:extLst>
          </p:cNvPr>
          <p:cNvSpPr/>
          <p:nvPr/>
        </p:nvSpPr>
        <p:spPr>
          <a:xfrm>
            <a:off x="4526411" y="4322311"/>
            <a:ext cx="640080" cy="64008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FC139F-57DA-EECB-50CD-DA70EEBC42CB}"/>
              </a:ext>
            </a:extLst>
          </p:cNvPr>
          <p:cNvSpPr txBox="1"/>
          <p:nvPr/>
        </p:nvSpPr>
        <p:spPr>
          <a:xfrm>
            <a:off x="1626351" y="3098731"/>
            <a:ext cx="2098872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latin typeface="Futura Std Light" panose="020B0402020204020303"/>
                <a:cs typeface="Calibri" panose="020F0502020204030204" pitchFamily="34" charset="0"/>
              </a:rPr>
              <a:t>Cross-Agency Strategic Planning and Priority Setting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D4413CFE-7376-4F2E-F0BA-D7888FA37F6C}"/>
              </a:ext>
            </a:extLst>
          </p:cNvPr>
          <p:cNvSpPr/>
          <p:nvPr/>
        </p:nvSpPr>
        <p:spPr>
          <a:xfrm>
            <a:off x="3959996" y="5235285"/>
            <a:ext cx="4206240" cy="731520"/>
          </a:xfrm>
          <a:prstGeom prst="roundRect">
            <a:avLst>
              <a:gd name="adj" fmla="val 50000"/>
            </a:avLst>
          </a:prstGeom>
          <a:solidFill>
            <a:srgbClr val="2A5660"/>
          </a:solidFill>
          <a:ln>
            <a:noFill/>
          </a:ln>
          <a:effectLst>
            <a:innerShdw blurRad="63500" dist="50800" dir="108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latin typeface="Futura Std Light" panose="020B0402020204020303"/>
                <a:cs typeface="Calibri" panose="020F0502020204030204" pitchFamily="34" charset="0"/>
              </a:rPr>
              <a:t>ACL &amp; CDC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FBC4B6C8-E87B-81CF-E0F5-4A696F342FA0}"/>
              </a:ext>
            </a:extLst>
          </p:cNvPr>
          <p:cNvSpPr/>
          <p:nvPr/>
        </p:nvSpPr>
        <p:spPr>
          <a:xfrm>
            <a:off x="3996901" y="5273359"/>
            <a:ext cx="640080" cy="64008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8" name="Graphic 27" descr="Group with solid fill">
            <a:extLst>
              <a:ext uri="{FF2B5EF4-FFF2-40B4-BE49-F238E27FC236}">
                <a16:creationId xmlns:a16="http://schemas.microsoft.com/office/drawing/2014/main" id="{94FAE495-7418-F6F5-4B3A-701F216066B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071187" y="5364799"/>
            <a:ext cx="457200" cy="457200"/>
          </a:xfrm>
          <a:prstGeom prst="rect">
            <a:avLst/>
          </a:prstGeom>
        </p:spPr>
      </p:pic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B9FAAF5-A570-9D81-F578-D430246DEDAB}"/>
              </a:ext>
            </a:extLst>
          </p:cNvPr>
          <p:cNvCxnSpPr/>
          <p:nvPr/>
        </p:nvCxnSpPr>
        <p:spPr>
          <a:xfrm flipV="1">
            <a:off x="3245999" y="1760959"/>
            <a:ext cx="0" cy="338491"/>
          </a:xfrm>
          <a:prstGeom prst="line">
            <a:avLst/>
          </a:prstGeom>
          <a:ln w="19050">
            <a:solidFill>
              <a:srgbClr val="102B4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3">
            <a:extLst>
              <a:ext uri="{FF2B5EF4-FFF2-40B4-BE49-F238E27FC236}">
                <a16:creationId xmlns:a16="http://schemas.microsoft.com/office/drawing/2014/main" id="{A228AF21-A7CA-D57C-5872-C379C7647C4E}"/>
              </a:ext>
            </a:extLst>
          </p:cNvPr>
          <p:cNvSpPr/>
          <p:nvPr/>
        </p:nvSpPr>
        <p:spPr>
          <a:xfrm>
            <a:off x="3170767" y="2029781"/>
            <a:ext cx="137160" cy="137160"/>
          </a:xfrm>
          <a:prstGeom prst="ellipse">
            <a:avLst/>
          </a:prstGeom>
          <a:solidFill>
            <a:srgbClr val="007D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50BC3FA-931A-41DF-1626-DDA22918A402}"/>
              </a:ext>
            </a:extLst>
          </p:cNvPr>
          <p:cNvCxnSpPr>
            <a:cxnSpLocks/>
          </p:cNvCxnSpPr>
          <p:nvPr/>
        </p:nvCxnSpPr>
        <p:spPr>
          <a:xfrm>
            <a:off x="4834204" y="4499125"/>
            <a:ext cx="0" cy="200155"/>
          </a:xfrm>
          <a:prstGeom prst="line">
            <a:avLst/>
          </a:prstGeom>
          <a:ln w="19050">
            <a:solidFill>
              <a:srgbClr val="102B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Graphic 44" descr="User with solid fill">
            <a:extLst>
              <a:ext uri="{FF2B5EF4-FFF2-40B4-BE49-F238E27FC236}">
                <a16:creationId xmlns:a16="http://schemas.microsoft.com/office/drawing/2014/main" id="{4556DDEC-46E8-2CF2-4D43-024D62E954D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42764" y="4373395"/>
            <a:ext cx="182880" cy="182880"/>
          </a:xfrm>
          <a:prstGeom prst="rect">
            <a:avLst/>
          </a:prstGeom>
        </p:spPr>
      </p:pic>
      <p:pic>
        <p:nvPicPr>
          <p:cNvPr id="46" name="Graphic 45" descr="User with solid fill">
            <a:extLst>
              <a:ext uri="{FF2B5EF4-FFF2-40B4-BE49-F238E27FC236}">
                <a16:creationId xmlns:a16="http://schemas.microsoft.com/office/drawing/2014/main" id="{6BCEDE35-EBD1-6F79-2D4A-4199C01656F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542529" y="4508495"/>
            <a:ext cx="182880" cy="182880"/>
          </a:xfrm>
          <a:prstGeom prst="rect">
            <a:avLst/>
          </a:prstGeom>
        </p:spPr>
      </p:pic>
      <p:pic>
        <p:nvPicPr>
          <p:cNvPr id="47" name="Graphic 46" descr="User with solid fill">
            <a:extLst>
              <a:ext uri="{FF2B5EF4-FFF2-40B4-BE49-F238E27FC236}">
                <a16:creationId xmlns:a16="http://schemas.microsoft.com/office/drawing/2014/main" id="{1474503B-9B1E-B6B9-6036-97E101B5B6E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943692" y="4516399"/>
            <a:ext cx="182880" cy="182880"/>
          </a:xfrm>
          <a:prstGeom prst="rect">
            <a:avLst/>
          </a:prstGeom>
        </p:spPr>
      </p:pic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5183EAF-224F-AA74-EB88-6F2A7D2B6126}"/>
              </a:ext>
            </a:extLst>
          </p:cNvPr>
          <p:cNvCxnSpPr>
            <a:cxnSpLocks/>
          </p:cNvCxnSpPr>
          <p:nvPr/>
        </p:nvCxnSpPr>
        <p:spPr>
          <a:xfrm flipH="1">
            <a:off x="4910526" y="4638971"/>
            <a:ext cx="151919" cy="104580"/>
          </a:xfrm>
          <a:prstGeom prst="line">
            <a:avLst/>
          </a:prstGeom>
          <a:ln w="19050">
            <a:solidFill>
              <a:srgbClr val="102B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Graphic 48" descr="Database with solid fill">
            <a:extLst>
              <a:ext uri="{FF2B5EF4-FFF2-40B4-BE49-F238E27FC236}">
                <a16:creationId xmlns:a16="http://schemas.microsoft.com/office/drawing/2014/main" id="{A4E450A6-EB84-BB33-6073-BA9956A01F4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697397" y="4613659"/>
            <a:ext cx="274320" cy="274320"/>
          </a:xfrm>
          <a:prstGeom prst="rect">
            <a:avLst/>
          </a:prstGeom>
        </p:spPr>
      </p:pic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EEE1E9C5-3FF6-520F-3E95-B531625E3D0D}"/>
              </a:ext>
            </a:extLst>
          </p:cNvPr>
          <p:cNvCxnSpPr>
            <a:cxnSpLocks/>
          </p:cNvCxnSpPr>
          <p:nvPr/>
        </p:nvCxnSpPr>
        <p:spPr>
          <a:xfrm flipH="1" flipV="1">
            <a:off x="4624769" y="4633712"/>
            <a:ext cx="142291" cy="117107"/>
          </a:xfrm>
          <a:prstGeom prst="line">
            <a:avLst/>
          </a:prstGeom>
          <a:ln w="19050">
            <a:solidFill>
              <a:srgbClr val="102B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Oval 52">
            <a:extLst>
              <a:ext uri="{FF2B5EF4-FFF2-40B4-BE49-F238E27FC236}">
                <a16:creationId xmlns:a16="http://schemas.microsoft.com/office/drawing/2014/main" id="{EDF5066A-E648-A099-7C6A-BCD2F550C4AA}"/>
              </a:ext>
            </a:extLst>
          </p:cNvPr>
          <p:cNvSpPr/>
          <p:nvPr/>
        </p:nvSpPr>
        <p:spPr>
          <a:xfrm>
            <a:off x="3266223" y="5195559"/>
            <a:ext cx="137160" cy="137160"/>
          </a:xfrm>
          <a:prstGeom prst="ellipse">
            <a:avLst/>
          </a:prstGeom>
          <a:solidFill>
            <a:srgbClr val="007D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FD2DA376-4EDB-8097-2FBD-54D0268E1F9E}"/>
              </a:ext>
            </a:extLst>
          </p:cNvPr>
          <p:cNvSpPr/>
          <p:nvPr/>
        </p:nvSpPr>
        <p:spPr>
          <a:xfrm>
            <a:off x="4311500" y="3613247"/>
            <a:ext cx="137160" cy="137160"/>
          </a:xfrm>
          <a:prstGeom prst="ellipse">
            <a:avLst/>
          </a:prstGeom>
          <a:solidFill>
            <a:srgbClr val="007D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C6A02735-D353-E614-7D3B-20B12BBB2DEF}"/>
              </a:ext>
            </a:extLst>
          </p:cNvPr>
          <p:cNvSpPr/>
          <p:nvPr/>
        </p:nvSpPr>
        <p:spPr>
          <a:xfrm>
            <a:off x="4124476" y="2816816"/>
            <a:ext cx="137160" cy="137160"/>
          </a:xfrm>
          <a:prstGeom prst="ellipse">
            <a:avLst/>
          </a:prstGeom>
          <a:solidFill>
            <a:srgbClr val="2A56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47B96D9A-B5EB-3C8E-77A2-51EF8F4E1712}"/>
              </a:ext>
            </a:extLst>
          </p:cNvPr>
          <p:cNvSpPr/>
          <p:nvPr/>
        </p:nvSpPr>
        <p:spPr>
          <a:xfrm>
            <a:off x="3928628" y="4710053"/>
            <a:ext cx="137160" cy="137160"/>
          </a:xfrm>
          <a:prstGeom prst="ellipse">
            <a:avLst/>
          </a:prstGeom>
          <a:solidFill>
            <a:srgbClr val="2A56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68757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397D9-BB35-DB07-1EE1-743007403C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C19D1E-C2C5-3A97-D316-4AC07A43BD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6059" y="2237261"/>
            <a:ext cx="5053862" cy="1600200"/>
          </a:xfrm>
        </p:spPr>
        <p:txBody>
          <a:bodyPr>
            <a:normAutofit/>
          </a:bodyPr>
          <a:lstStyle/>
          <a:p>
            <a:pPr algn="ctr"/>
            <a:r>
              <a:rPr lang="en-US" spc="300">
                <a:solidFill>
                  <a:srgbClr val="0F3858"/>
                </a:solidFill>
              </a:rPr>
              <a:t>Thank you!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C6380EE-A5B3-69B9-C29F-646FCB22351C}"/>
              </a:ext>
            </a:extLst>
          </p:cNvPr>
          <p:cNvSpPr txBox="1">
            <a:spLocks/>
          </p:cNvSpPr>
          <p:nvPr/>
        </p:nvSpPr>
        <p:spPr>
          <a:xfrm>
            <a:off x="235527" y="4756727"/>
            <a:ext cx="11720946" cy="49414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2C70BA"/>
                </a:solidFill>
                <a:latin typeface="Futura Std Light" panose="020B0402020204020303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endParaRPr lang="en-US" sz="800" spc="300">
              <a:solidFill>
                <a:srgbClr val="0F3858"/>
              </a:solidFill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00C5B4-F1FD-AA88-A2BF-661A4AFB952C}"/>
              </a:ext>
            </a:extLst>
          </p:cNvPr>
          <p:cNvSpPr txBox="1"/>
          <p:nvPr/>
        </p:nvSpPr>
        <p:spPr>
          <a:xfrm>
            <a:off x="3048000" y="4510799"/>
            <a:ext cx="609600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50">
                <a:latin typeface="Futura Std Light" panose="020B0402020204020303"/>
              </a:rPr>
              <a:t>The findings and conclusions in this report are those of the authors and do not necessarily represent the official position of the Centers for Disease Control and Prevention.</a:t>
            </a:r>
          </a:p>
        </p:txBody>
      </p:sp>
      <p:pic>
        <p:nvPicPr>
          <p:cNvPr id="7" name="Image 6" descr="Une image contenant texte, Police, Graphique, capture d’écran&#10;&#10;Description générée automatiquement">
            <a:extLst>
              <a:ext uri="{FF2B5EF4-FFF2-40B4-BE49-F238E27FC236}">
                <a16:creationId xmlns:a16="http://schemas.microsoft.com/office/drawing/2014/main" id="{143DFA1E-947F-6833-6834-E8FFBEE7BB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833384"/>
            <a:ext cx="12191999" cy="2023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4443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TqFRC.fAbNV.J6gZA0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TqFRC.fAbNV.J6gZA0Gg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FD098C86-F8D2-F249-BAB5-E044350BD1C8}" vid="{6A992130-8C8A-3442-A735-C67414F47925}"/>
    </a:ext>
  </a:extLst>
</a:theme>
</file>

<file path=ppt/theme/theme2.xml><?xml version="1.0" encoding="utf-8"?>
<a:theme xmlns:a="http://schemas.openxmlformats.org/drawingml/2006/main" name="NCEH_ATSDR_combined">
  <a:themeElements>
    <a:clrScheme name="Custom 1">
      <a:dk1>
        <a:srgbClr val="0F56DC"/>
      </a:dk1>
      <a:lt1>
        <a:srgbClr val="FFFFFF"/>
      </a:lt1>
      <a:dk2>
        <a:srgbClr val="0B7D58"/>
      </a:dk2>
      <a:lt2>
        <a:srgbClr val="FFFFFF"/>
      </a:lt2>
      <a:accent1>
        <a:srgbClr val="7F8080"/>
      </a:accent1>
      <a:accent2>
        <a:srgbClr val="546DB4"/>
      </a:accent2>
      <a:accent3>
        <a:srgbClr val="9A3B25"/>
      </a:accent3>
      <a:accent4>
        <a:srgbClr val="7F7F7F"/>
      </a:accent4>
      <a:accent5>
        <a:srgbClr val="0033A1"/>
      </a:accent5>
      <a:accent6>
        <a:srgbClr val="002060"/>
      </a:accent6>
      <a:hlink>
        <a:srgbClr val="0F56DC"/>
      </a:hlink>
      <a:folHlink>
        <a:srgbClr val="3077FF"/>
      </a:folHlink>
    </a:clrScheme>
    <a:fontScheme name="CDC Myriad Web Pro">
      <a:majorFont>
        <a:latin typeface="Myriad Web Pro"/>
        <a:ea typeface=""/>
        <a:cs typeface=""/>
      </a:majorFont>
      <a:minorFont>
        <a:latin typeface="Myriad Web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4_Dividend">
  <a:themeElements>
    <a:clrScheme name="#d3f9f3">
      <a:dk1>
        <a:srgbClr val="102B40"/>
      </a:dk1>
      <a:lt1>
        <a:srgbClr val="FFFFFF"/>
      </a:lt1>
      <a:dk2>
        <a:srgbClr val="2A5660"/>
      </a:dk2>
      <a:lt2>
        <a:srgbClr val="D2F9EB"/>
      </a:lt2>
      <a:accent1>
        <a:srgbClr val="569FD3"/>
      </a:accent1>
      <a:accent2>
        <a:srgbClr val="2F78BC"/>
      </a:accent2>
      <a:accent3>
        <a:srgbClr val="0F8577"/>
      </a:accent3>
      <a:accent4>
        <a:srgbClr val="5ACB59"/>
      </a:accent4>
      <a:accent5>
        <a:srgbClr val="F4605C"/>
      </a:accent5>
      <a:accent6>
        <a:srgbClr val="851238"/>
      </a:accent6>
      <a:hlink>
        <a:srgbClr val="569FD3"/>
      </a:hlink>
      <a:folHlink>
        <a:srgbClr val="102B40"/>
      </a:folHlink>
    </a:clrScheme>
    <a:fontScheme name="NCCDPHP template blank June202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" id="{9697A71B-4AB7-4A1A-BD5B-BB2D22835B57}" vid="{66F1C100-1D2B-4BEA-AD01-C4F230B3B96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A0C26ED75B6F42858795A942B8A417" ma:contentTypeVersion="18" ma:contentTypeDescription="Crée un document." ma:contentTypeScope="" ma:versionID="d182f3109876402847789c0f9bf19ada">
  <xsd:schema xmlns:xsd="http://www.w3.org/2001/XMLSchema" xmlns:xs="http://www.w3.org/2001/XMLSchema" xmlns:p="http://schemas.microsoft.com/office/2006/metadata/properties" xmlns:ns2="edbc6619-208e-4139-904a-e28b829ed0c5" xmlns:ns3="7ec0f2c8-51f7-495d-a454-42413d559956" targetNamespace="http://schemas.microsoft.com/office/2006/metadata/properties" ma:root="true" ma:fieldsID="494e0b62db10ba8905d94693a82a3b61" ns2:_="" ns3:_="">
    <xsd:import namespace="edbc6619-208e-4139-904a-e28b829ed0c5"/>
    <xsd:import namespace="7ec0f2c8-51f7-495d-a454-42413d55995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bc6619-208e-4139-904a-e28b829ed0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Balises d’images" ma:readOnly="false" ma:fieldId="{5cf76f15-5ced-4ddc-b409-7134ff3c332f}" ma:taxonomyMulti="true" ma:sspId="992fa3da-db31-45ba-92de-38f16e295a4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c0f2c8-51f7-495d-a454-42413d55995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7d0e3ae4-a038-4907-b63c-24631858edc7}" ma:internalName="TaxCatchAll" ma:showField="CatchAllData" ma:web="7ec0f2c8-51f7-495d-a454-42413d55995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ec0f2c8-51f7-495d-a454-42413d559956" xsi:nil="true"/>
    <lcf76f155ced4ddcb4097134ff3c332f xmlns="edbc6619-208e-4139-904a-e28b829ed0c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0449CDB9-BED2-4C22-AAEF-12BB9CDDB1DE}"/>
</file>

<file path=customXml/itemProps2.xml><?xml version="1.0" encoding="utf-8"?>
<ds:datastoreItem xmlns:ds="http://schemas.openxmlformats.org/officeDocument/2006/customXml" ds:itemID="{1B577783-C383-4399-A01F-EE390AF857E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CAAAC1-F0F3-43EC-ADF2-4AF1D161417B}">
  <ds:schemaRefs>
    <ds:schemaRef ds:uri="74549803-6a6b-484e-a289-70d76010b226"/>
    <ds:schemaRef ds:uri="c08e9092-efc7-4ceb-83ea-7a257c2012d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48</Words>
  <Application>Microsoft Office PowerPoint</Application>
  <PresentationFormat>Grand écran</PresentationFormat>
  <Paragraphs>71</Paragraphs>
  <Slides>9</Slides>
  <Notes>5</Notes>
  <HiddenSlides>0</HiddenSlides>
  <MMClips>0</MMClips>
  <ScaleCrop>false</ScaleCrop>
  <HeadingPairs>
    <vt:vector size="4" baseType="variant">
      <vt:variant>
        <vt:lpstr>Thème</vt:lpstr>
      </vt:variant>
      <vt:variant>
        <vt:i4>3</vt:i4>
      </vt:variant>
      <vt:variant>
        <vt:lpstr>Titres des diapositives</vt:lpstr>
      </vt:variant>
      <vt:variant>
        <vt:i4>9</vt:i4>
      </vt:variant>
    </vt:vector>
  </HeadingPairs>
  <TitlesOfParts>
    <vt:vector size="12" baseType="lpstr">
      <vt:lpstr>Thème Office</vt:lpstr>
      <vt:lpstr>NCEH_ATSDR_combined</vt:lpstr>
      <vt:lpstr>4_Dividend</vt:lpstr>
      <vt:lpstr>Karen Hacker, MD, MPH Director, National Center for Chronic Disease and Health Promotion, CDC  USA</vt:lpstr>
      <vt:lpstr>DEPARTMENT OF HEALTH AND HUMAN SERVICES  CENTERS FOR DISEASE CONTROL AND PREVENTION (CDC)</vt:lpstr>
      <vt:lpstr>Health Disparities in the US</vt:lpstr>
      <vt:lpstr>Présentation PowerPoint</vt:lpstr>
      <vt:lpstr>Présentation PowerPoint</vt:lpstr>
      <vt:lpstr>Approaches to Address SDOH</vt:lpstr>
      <vt:lpstr>Examples of SDOH Activities and Programs</vt:lpstr>
      <vt:lpstr>Whole of Government Approach and Future CDC Efforts</vt:lpstr>
      <vt:lpstr>Thank you!</vt:lpstr>
    </vt:vector>
  </TitlesOfParts>
  <Company>ANS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OLLETAZ Paul</dc:creator>
  <cp:lastModifiedBy>Turner, Victoria (CDC/NCCDPHP/OD)</cp:lastModifiedBy>
  <cp:revision>4</cp:revision>
  <cp:lastPrinted>2024-03-28T16:49:30Z</cp:lastPrinted>
  <dcterms:created xsi:type="dcterms:W3CDTF">2024-01-24T08:51:44Z</dcterms:created>
  <dcterms:modified xsi:type="dcterms:W3CDTF">2024-10-24T14:3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A0C26ED75B6F42858795A942B8A417</vt:lpwstr>
  </property>
  <property fmtid="{D5CDD505-2E9C-101B-9397-08002B2CF9AE}" pid="3" name="MediaServiceImageTags">
    <vt:lpwstr/>
  </property>
  <property fmtid="{D5CDD505-2E9C-101B-9397-08002B2CF9AE}" pid="4" name="MSIP_Label_7b94a7b8-f06c-4dfe-bdcc-9b548fd58c31_Enabled">
    <vt:lpwstr>true</vt:lpwstr>
  </property>
  <property fmtid="{D5CDD505-2E9C-101B-9397-08002B2CF9AE}" pid="5" name="MSIP_Label_7b94a7b8-f06c-4dfe-bdcc-9b548fd58c31_SetDate">
    <vt:lpwstr>2024-08-28T17:26:42Z</vt:lpwstr>
  </property>
  <property fmtid="{D5CDD505-2E9C-101B-9397-08002B2CF9AE}" pid="6" name="MSIP_Label_7b94a7b8-f06c-4dfe-bdcc-9b548fd58c31_Method">
    <vt:lpwstr>Privileged</vt:lpwstr>
  </property>
  <property fmtid="{D5CDD505-2E9C-101B-9397-08002B2CF9AE}" pid="7" name="MSIP_Label_7b94a7b8-f06c-4dfe-bdcc-9b548fd58c31_Name">
    <vt:lpwstr>7b94a7b8-f06c-4dfe-bdcc-9b548fd58c31</vt:lpwstr>
  </property>
  <property fmtid="{D5CDD505-2E9C-101B-9397-08002B2CF9AE}" pid="8" name="MSIP_Label_7b94a7b8-f06c-4dfe-bdcc-9b548fd58c31_SiteId">
    <vt:lpwstr>9ce70869-60db-44fd-abe8-d2767077fc8f</vt:lpwstr>
  </property>
  <property fmtid="{D5CDD505-2E9C-101B-9397-08002B2CF9AE}" pid="9" name="MSIP_Label_7b94a7b8-f06c-4dfe-bdcc-9b548fd58c31_ActionId">
    <vt:lpwstr>ae697541-e01b-4aa3-a4ef-6aba7b9e6c3c</vt:lpwstr>
  </property>
  <property fmtid="{D5CDD505-2E9C-101B-9397-08002B2CF9AE}" pid="10" name="MSIP_Label_7b94a7b8-f06c-4dfe-bdcc-9b548fd58c31_ContentBits">
    <vt:lpwstr>0</vt:lpwstr>
  </property>
</Properties>
</file>